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6633" r:id="rId5"/>
    <p:sldId id="10655" r:id="rId6"/>
    <p:sldId id="709" r:id="rId7"/>
    <p:sldId id="6622" r:id="rId8"/>
    <p:sldId id="7133" r:id="rId9"/>
    <p:sldId id="7127" r:id="rId10"/>
    <p:sldId id="7184" r:id="rId11"/>
    <p:sldId id="7150" r:id="rId12"/>
    <p:sldId id="7153" r:id="rId13"/>
    <p:sldId id="7154" r:id="rId14"/>
    <p:sldId id="7157" r:id="rId15"/>
    <p:sldId id="7158" r:id="rId16"/>
    <p:sldId id="7159" r:id="rId17"/>
    <p:sldId id="7185" r:id="rId18"/>
    <p:sldId id="7163" r:id="rId19"/>
    <p:sldId id="7125" r:id="rId20"/>
    <p:sldId id="7447" r:id="rId21"/>
    <p:sldId id="7106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s" id="{AD6DBBD5-3C1F-5148-9592-5F1F45924387}">
          <p14:sldIdLst>
            <p14:sldId id="6633"/>
            <p14:sldId id="10655"/>
            <p14:sldId id="709"/>
            <p14:sldId id="6622"/>
            <p14:sldId id="7133"/>
            <p14:sldId id="7127"/>
            <p14:sldId id="7184"/>
            <p14:sldId id="7150"/>
            <p14:sldId id="7153"/>
            <p14:sldId id="7154"/>
            <p14:sldId id="7157"/>
            <p14:sldId id="7158"/>
            <p14:sldId id="7159"/>
            <p14:sldId id="7185"/>
            <p14:sldId id="7163"/>
            <p14:sldId id="7125"/>
            <p14:sldId id="7447"/>
            <p14:sldId id="7106"/>
          </p14:sldIdLst>
        </p14:section>
        <p14:section name="Próximos passos" id="{B91B2C4C-EFD5-426B-B595-B680BC07C8D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A873"/>
    <a:srgbClr val="404040"/>
    <a:srgbClr val="FF4465"/>
    <a:srgbClr val="CCC422"/>
    <a:srgbClr val="E5DC1F"/>
    <a:srgbClr val="4C6C9C"/>
    <a:srgbClr val="70AD47"/>
    <a:srgbClr val="908B2F"/>
    <a:srgbClr val="F7B031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101F34-85F4-48EA-9D97-53D6CDC4EF7B}" v="1" dt="2021-11-18T17:08:02.445"/>
    <p1510:client id="{BFED318E-DD90-43AD-A84C-0D7CF193F554}" v="563" dt="2021-11-18T16:59:16.0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516" y="-2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O HENRIQUE SENA RIBEIRO" userId="09217d17-753b-4022-8198-9afa81bfa7db" providerId="ADAL" clId="{74101F34-85F4-48EA-9D97-53D6CDC4EF7B}"/>
    <pc:docChg chg="modSld">
      <pc:chgData name="JOAO HENRIQUE SENA RIBEIRO" userId="09217d17-753b-4022-8198-9afa81bfa7db" providerId="ADAL" clId="{74101F34-85F4-48EA-9D97-53D6CDC4EF7B}" dt="2021-11-18T17:08:02.446" v="0" actId="20577"/>
      <pc:docMkLst>
        <pc:docMk/>
      </pc:docMkLst>
      <pc:sldChg chg="modSp mod">
        <pc:chgData name="JOAO HENRIQUE SENA RIBEIRO" userId="09217d17-753b-4022-8198-9afa81bfa7db" providerId="ADAL" clId="{74101F34-85F4-48EA-9D97-53D6CDC4EF7B}" dt="2021-11-18T17:08:02.446" v="0" actId="20577"/>
        <pc:sldMkLst>
          <pc:docMk/>
          <pc:sldMk cId="3936673180" sldId="7328"/>
        </pc:sldMkLst>
        <pc:spChg chg="mod">
          <ac:chgData name="JOAO HENRIQUE SENA RIBEIRO" userId="09217d17-753b-4022-8198-9afa81bfa7db" providerId="ADAL" clId="{74101F34-85F4-48EA-9D97-53D6CDC4EF7B}" dt="2021-11-18T17:08:02.446" v="0" actId="20577"/>
          <ac:spMkLst>
            <pc:docMk/>
            <pc:sldMk cId="3936673180" sldId="7328"/>
            <ac:spMk id="14" creationId="{399BE35E-7E94-4B55-884F-89C56FA1427B}"/>
          </ac:spMkLst>
        </pc:spChg>
      </pc:sldChg>
    </pc:docChg>
  </pc:docChgLst>
  <pc:docChgLst>
    <pc:chgData name="ROBERTO ANDRADE MANSUR" userId="10a07775-797c-43e1-ac40-aa24f29d8c96" providerId="ADAL" clId="{8A8AB793-BD22-4391-A6E5-F5AC21B2A81C}"/>
    <pc:docChg chg="undo custSel delSld modSld modSection">
      <pc:chgData name="ROBERTO ANDRADE MANSUR" userId="10a07775-797c-43e1-ac40-aa24f29d8c96" providerId="ADAL" clId="{8A8AB793-BD22-4391-A6E5-F5AC21B2A81C}" dt="2021-10-22T12:18:11.522" v="1367" actId="207"/>
      <pc:docMkLst>
        <pc:docMk/>
      </pc:docMkLst>
      <pc:sldChg chg="addSp delSp modSp">
        <pc:chgData name="ROBERTO ANDRADE MANSUR" userId="10a07775-797c-43e1-ac40-aa24f29d8c96" providerId="ADAL" clId="{8A8AB793-BD22-4391-A6E5-F5AC21B2A81C}" dt="2021-10-22T12:18:11.522" v="1367" actId="207"/>
        <pc:sldMkLst>
          <pc:docMk/>
          <pc:sldMk cId="3936673180" sldId="7328"/>
        </pc:sldMkLst>
        <pc:spChg chg="add mod">
          <ac:chgData name="ROBERTO ANDRADE MANSUR" userId="10a07775-797c-43e1-ac40-aa24f29d8c96" providerId="ADAL" clId="{8A8AB793-BD22-4391-A6E5-F5AC21B2A81C}" dt="2021-10-21T12:24:50.214" v="190" actId="1076"/>
          <ac:spMkLst>
            <pc:docMk/>
            <pc:sldMk cId="3936673180" sldId="7328"/>
            <ac:spMk id="2" creationId="{681E7203-A72E-484F-964E-CAFBFFB17C52}"/>
          </ac:spMkLst>
        </pc:spChg>
        <pc:spChg chg="mod">
          <ac:chgData name="ROBERTO ANDRADE MANSUR" userId="10a07775-797c-43e1-ac40-aa24f29d8c96" providerId="ADAL" clId="{8A8AB793-BD22-4391-A6E5-F5AC21B2A81C}" dt="2021-10-21T12:37:20.383" v="441" actId="1037"/>
          <ac:spMkLst>
            <pc:docMk/>
            <pc:sldMk cId="3936673180" sldId="7328"/>
            <ac:spMk id="7" creationId="{FEE5F914-2DEB-4814-B7A2-92E3B3D5F016}"/>
          </ac:spMkLst>
        </pc:spChg>
        <pc:spChg chg="del">
          <ac:chgData name="ROBERTO ANDRADE MANSUR" userId="10a07775-797c-43e1-ac40-aa24f29d8c96" providerId="ADAL" clId="{8A8AB793-BD22-4391-A6E5-F5AC21B2A81C}" dt="2021-10-21T12:31:25.060" v="238" actId="478"/>
          <ac:spMkLst>
            <pc:docMk/>
            <pc:sldMk cId="3936673180" sldId="7328"/>
            <ac:spMk id="8" creationId="{DD2459A3-E8EC-4F4F-BA20-AB753C393CDC}"/>
          </ac:spMkLst>
        </pc:spChg>
        <pc:spChg chg="del mod">
          <ac:chgData name="ROBERTO ANDRADE MANSUR" userId="10a07775-797c-43e1-ac40-aa24f29d8c96" providerId="ADAL" clId="{8A8AB793-BD22-4391-A6E5-F5AC21B2A81C}" dt="2021-10-21T12:23:30.900" v="128" actId="478"/>
          <ac:spMkLst>
            <pc:docMk/>
            <pc:sldMk cId="3936673180" sldId="7328"/>
            <ac:spMk id="9" creationId="{F3DE3FA1-408D-4093-978E-D0878A0DB396}"/>
          </ac:spMkLst>
        </pc:spChg>
        <pc:spChg chg="del">
          <ac:chgData name="ROBERTO ANDRADE MANSUR" userId="10a07775-797c-43e1-ac40-aa24f29d8c96" providerId="ADAL" clId="{8A8AB793-BD22-4391-A6E5-F5AC21B2A81C}" dt="2021-10-21T12:31:23.619" v="237" actId="478"/>
          <ac:spMkLst>
            <pc:docMk/>
            <pc:sldMk cId="3936673180" sldId="7328"/>
            <ac:spMk id="10" creationId="{C7969F11-6C32-44B2-B18F-100A4F8786E6}"/>
          </ac:spMkLst>
        </pc:spChg>
        <pc:spChg chg="add del">
          <ac:chgData name="ROBERTO ANDRADE MANSUR" userId="10a07775-797c-43e1-ac40-aa24f29d8c96" providerId="ADAL" clId="{8A8AB793-BD22-4391-A6E5-F5AC21B2A81C}" dt="2021-10-21T12:27:42.068" v="211" actId="478"/>
          <ac:spMkLst>
            <pc:docMk/>
            <pc:sldMk cId="3936673180" sldId="7328"/>
            <ac:spMk id="14" creationId="{0CC7756F-0681-438B-BCF5-3082DB33F953}"/>
          </ac:spMkLst>
        </pc:spChg>
        <pc:spChg chg="add del mod">
          <ac:chgData name="ROBERTO ANDRADE MANSUR" userId="10a07775-797c-43e1-ac40-aa24f29d8c96" providerId="ADAL" clId="{8A8AB793-BD22-4391-A6E5-F5AC21B2A81C}" dt="2021-10-21T13:20:14.968" v="636" actId="1076"/>
          <ac:spMkLst>
            <pc:docMk/>
            <pc:sldMk cId="3936673180" sldId="7328"/>
            <ac:spMk id="17" creationId="{2709ACC6-4ECF-4B3E-983B-6BC3EAEB3526}"/>
          </ac:spMkLst>
        </pc:spChg>
        <pc:spChg chg="mod">
          <ac:chgData name="ROBERTO ANDRADE MANSUR" userId="10a07775-797c-43e1-ac40-aa24f29d8c96" providerId="ADAL" clId="{8A8AB793-BD22-4391-A6E5-F5AC21B2A81C}" dt="2021-10-21T14:41:43.940" v="1189" actId="1076"/>
          <ac:spMkLst>
            <pc:docMk/>
            <pc:sldMk cId="3936673180" sldId="7328"/>
            <ac:spMk id="32" creationId="{ED5D4E86-6F20-4814-8D15-7C019FBFD057}"/>
          </ac:spMkLst>
        </pc:spChg>
        <pc:spChg chg="add del mod">
          <ac:chgData name="ROBERTO ANDRADE MANSUR" userId="10a07775-797c-43e1-ac40-aa24f29d8c96" providerId="ADAL" clId="{8A8AB793-BD22-4391-A6E5-F5AC21B2A81C}" dt="2021-10-21T14:43:13.339" v="1210" actId="6549"/>
          <ac:spMkLst>
            <pc:docMk/>
            <pc:sldMk cId="3936673180" sldId="7328"/>
            <ac:spMk id="33" creationId="{C2762802-7F77-47B6-A69D-9A471C569876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36" creationId="{CF469000-38AA-45BD-B472-1FA9A077AB10}"/>
          </ac:spMkLst>
        </pc:spChg>
        <pc:spChg chg="add del mod">
          <ac:chgData name="ROBERTO ANDRADE MANSUR" userId="10a07775-797c-43e1-ac40-aa24f29d8c96" providerId="ADAL" clId="{8A8AB793-BD22-4391-A6E5-F5AC21B2A81C}" dt="2021-10-21T14:33:16.228" v="1171" actId="478"/>
          <ac:spMkLst>
            <pc:docMk/>
            <pc:sldMk cId="3936673180" sldId="7328"/>
            <ac:spMk id="43" creationId="{0BDF75A3-C63F-46A0-9D87-14D1E771BB31}"/>
          </ac:spMkLst>
        </pc:spChg>
        <pc:spChg chg="add del mod">
          <ac:chgData name="ROBERTO ANDRADE MANSUR" userId="10a07775-797c-43e1-ac40-aa24f29d8c96" providerId="ADAL" clId="{8A8AB793-BD22-4391-A6E5-F5AC21B2A81C}" dt="2021-10-21T14:33:15.250" v="1170" actId="478"/>
          <ac:spMkLst>
            <pc:docMk/>
            <pc:sldMk cId="3936673180" sldId="7328"/>
            <ac:spMk id="44" creationId="{7B129097-61FA-442B-ACE8-31B1DADB00CF}"/>
          </ac:spMkLst>
        </pc:spChg>
        <pc:spChg chg="add mod">
          <ac:chgData name="ROBERTO ANDRADE MANSUR" userId="10a07775-797c-43e1-ac40-aa24f29d8c96" providerId="ADAL" clId="{8A8AB793-BD22-4391-A6E5-F5AC21B2A81C}" dt="2021-10-21T12:43:32.571" v="488" actId="164"/>
          <ac:spMkLst>
            <pc:docMk/>
            <pc:sldMk cId="3936673180" sldId="7328"/>
            <ac:spMk id="81" creationId="{84DD8464-C344-4AA2-ADC2-5D4C7A9727B4}"/>
          </ac:spMkLst>
        </pc:spChg>
        <pc:spChg chg="add mod">
          <ac:chgData name="ROBERTO ANDRADE MANSUR" userId="10a07775-797c-43e1-ac40-aa24f29d8c96" providerId="ADAL" clId="{8A8AB793-BD22-4391-A6E5-F5AC21B2A81C}" dt="2021-10-21T14:34:35.385" v="1179" actId="164"/>
          <ac:spMkLst>
            <pc:docMk/>
            <pc:sldMk cId="3936673180" sldId="7328"/>
            <ac:spMk id="82" creationId="{27E9EBD2-8742-4456-BE54-CF5E33196FC0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83" creationId="{9152CB0A-F136-4A70-85E1-BCE9B0E237CD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84" creationId="{685F99A7-71F0-4198-A638-C33E8CEB54F6}"/>
          </ac:spMkLst>
        </pc:spChg>
        <pc:spChg chg="mod">
          <ac:chgData name="ROBERTO ANDRADE MANSUR" userId="10a07775-797c-43e1-ac40-aa24f29d8c96" providerId="ADAL" clId="{8A8AB793-BD22-4391-A6E5-F5AC21B2A81C}" dt="2021-10-21T14:50:40.290" v="1223" actId="20577"/>
          <ac:spMkLst>
            <pc:docMk/>
            <pc:sldMk cId="3936673180" sldId="7328"/>
            <ac:spMk id="85" creationId="{48B6C8B8-36A5-4512-8228-51D5E56D4A14}"/>
          </ac:spMkLst>
        </pc:spChg>
        <pc:spChg chg="add mod">
          <ac:chgData name="ROBERTO ANDRADE MANSUR" userId="10a07775-797c-43e1-ac40-aa24f29d8c96" providerId="ADAL" clId="{8A8AB793-BD22-4391-A6E5-F5AC21B2A81C}" dt="2021-10-22T12:17:32.055" v="1240" actId="20577"/>
          <ac:spMkLst>
            <pc:docMk/>
            <pc:sldMk cId="3936673180" sldId="7328"/>
            <ac:spMk id="86" creationId="{BE9A2058-731B-4D2F-BA60-AF0DF634B92F}"/>
          </ac:spMkLst>
        </pc:spChg>
        <pc:spChg chg="add mod">
          <ac:chgData name="ROBERTO ANDRADE MANSUR" userId="10a07775-797c-43e1-ac40-aa24f29d8c96" providerId="ADAL" clId="{8A8AB793-BD22-4391-A6E5-F5AC21B2A81C}" dt="2021-10-21T14:10:46.654" v="737" actId="1037"/>
          <ac:spMkLst>
            <pc:docMk/>
            <pc:sldMk cId="3936673180" sldId="7328"/>
            <ac:spMk id="87" creationId="{7CFACC45-FC20-4B75-A61A-466DE7433047}"/>
          </ac:spMkLst>
        </pc:spChg>
        <pc:spChg chg="add mod">
          <ac:chgData name="ROBERTO ANDRADE MANSUR" userId="10a07775-797c-43e1-ac40-aa24f29d8c96" providerId="ADAL" clId="{8A8AB793-BD22-4391-A6E5-F5AC21B2A81C}" dt="2021-10-21T14:26:20.159" v="1078" actId="1037"/>
          <ac:spMkLst>
            <pc:docMk/>
            <pc:sldMk cId="3936673180" sldId="7328"/>
            <ac:spMk id="100" creationId="{1FAE6B5D-3018-4D10-B045-A5895F1376E5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103" creationId="{A5F6D742-6550-4EE0-AAE8-D0B69A9633D1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113" creationId="{E6E0940B-C7A4-4FC7-AEB5-57C066304AF3}"/>
          </ac:spMkLst>
        </pc:spChg>
        <pc:spChg chg="mod">
          <ac:chgData name="ROBERTO ANDRADE MANSUR" userId="10a07775-797c-43e1-ac40-aa24f29d8c96" providerId="ADAL" clId="{8A8AB793-BD22-4391-A6E5-F5AC21B2A81C}" dt="2021-10-21T12:24:08.521" v="155" actId="20577"/>
          <ac:spMkLst>
            <pc:docMk/>
            <pc:sldMk cId="3936673180" sldId="7328"/>
            <ac:spMk id="114" creationId="{E57D2F71-C728-4985-8E64-CE3E62B29684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116" creationId="{3CB6A3F6-7E02-452D-A861-AAB801153034}"/>
          </ac:spMkLst>
        </pc:spChg>
        <pc:spChg chg="add mod">
          <ac:chgData name="ROBERTO ANDRADE MANSUR" userId="10a07775-797c-43e1-ac40-aa24f29d8c96" providerId="ADAL" clId="{8A8AB793-BD22-4391-A6E5-F5AC21B2A81C}" dt="2021-10-21T14:25:54.351" v="1060" actId="1037"/>
          <ac:spMkLst>
            <pc:docMk/>
            <pc:sldMk cId="3936673180" sldId="7328"/>
            <ac:spMk id="119" creationId="{3C5E9CF2-1B11-4ECA-8B83-10A1A4F385DE}"/>
          </ac:spMkLst>
        </pc:spChg>
        <pc:spChg chg="mod">
          <ac:chgData name="ROBERTO ANDRADE MANSUR" userId="10a07775-797c-43e1-ac40-aa24f29d8c96" providerId="ADAL" clId="{8A8AB793-BD22-4391-A6E5-F5AC21B2A81C}" dt="2021-10-21T12:35:05.925" v="363" actId="20577"/>
          <ac:spMkLst>
            <pc:docMk/>
            <pc:sldMk cId="3936673180" sldId="7328"/>
            <ac:spMk id="121" creationId="{63E4770C-D839-4FE0-B703-BEA31B1ADFA2}"/>
          </ac:spMkLst>
        </pc:spChg>
        <pc:spChg chg="mod">
          <ac:chgData name="ROBERTO ANDRADE MANSUR" userId="10a07775-797c-43e1-ac40-aa24f29d8c96" providerId="ADAL" clId="{8A8AB793-BD22-4391-A6E5-F5AC21B2A81C}" dt="2021-10-21T12:22:59.197" v="81" actId="20577"/>
          <ac:spMkLst>
            <pc:docMk/>
            <pc:sldMk cId="3936673180" sldId="7328"/>
            <ac:spMk id="130" creationId="{B26551C4-EC2E-4329-B764-E42908ECF154}"/>
          </ac:spMkLst>
        </pc:spChg>
        <pc:spChg chg="del">
          <ac:chgData name="ROBERTO ANDRADE MANSUR" userId="10a07775-797c-43e1-ac40-aa24f29d8c96" providerId="ADAL" clId="{8A8AB793-BD22-4391-A6E5-F5AC21B2A81C}" dt="2021-10-21T12:31:18.037" v="234" actId="478"/>
          <ac:spMkLst>
            <pc:docMk/>
            <pc:sldMk cId="3936673180" sldId="7328"/>
            <ac:spMk id="132" creationId="{3E2F81A7-D39C-48C4-96B8-E4F8FD840DD3}"/>
          </ac:spMkLst>
        </pc:spChg>
        <pc:spChg chg="del">
          <ac:chgData name="ROBERTO ANDRADE MANSUR" userId="10a07775-797c-43e1-ac40-aa24f29d8c96" providerId="ADAL" clId="{8A8AB793-BD22-4391-A6E5-F5AC21B2A81C}" dt="2021-10-21T12:31:14.427" v="232" actId="478"/>
          <ac:spMkLst>
            <pc:docMk/>
            <pc:sldMk cId="3936673180" sldId="7328"/>
            <ac:spMk id="133" creationId="{A89DBBC9-8283-41E5-B6E4-0AB67B19E0BA}"/>
          </ac:spMkLst>
        </pc:spChg>
        <pc:spChg chg="del">
          <ac:chgData name="ROBERTO ANDRADE MANSUR" userId="10a07775-797c-43e1-ac40-aa24f29d8c96" providerId="ADAL" clId="{8A8AB793-BD22-4391-A6E5-F5AC21B2A81C}" dt="2021-10-21T12:31:21.011" v="235" actId="478"/>
          <ac:spMkLst>
            <pc:docMk/>
            <pc:sldMk cId="3936673180" sldId="7328"/>
            <ac:spMk id="135" creationId="{0F7D2C1E-573C-4567-9BA7-4C5774FC5BC2}"/>
          </ac:spMkLst>
        </pc:spChg>
        <pc:spChg chg="del">
          <ac:chgData name="ROBERTO ANDRADE MANSUR" userId="10a07775-797c-43e1-ac40-aa24f29d8c96" providerId="ADAL" clId="{8A8AB793-BD22-4391-A6E5-F5AC21B2A81C}" dt="2021-10-21T12:31:16.115" v="233" actId="478"/>
          <ac:spMkLst>
            <pc:docMk/>
            <pc:sldMk cId="3936673180" sldId="7328"/>
            <ac:spMk id="136" creationId="{B4D7C567-8897-4103-AD30-30636051FB42}"/>
          </ac:spMkLst>
        </pc:spChg>
        <pc:spChg chg="del">
          <ac:chgData name="ROBERTO ANDRADE MANSUR" userId="10a07775-797c-43e1-ac40-aa24f29d8c96" providerId="ADAL" clId="{8A8AB793-BD22-4391-A6E5-F5AC21B2A81C}" dt="2021-10-21T12:31:09.564" v="229" actId="478"/>
          <ac:spMkLst>
            <pc:docMk/>
            <pc:sldMk cId="3936673180" sldId="7328"/>
            <ac:spMk id="137" creationId="{04E035F5-223D-4C2D-85B7-5411B1C00EE4}"/>
          </ac:spMkLst>
        </pc:spChg>
        <pc:spChg chg="del">
          <ac:chgData name="ROBERTO ANDRADE MANSUR" userId="10a07775-797c-43e1-ac40-aa24f29d8c96" providerId="ADAL" clId="{8A8AB793-BD22-4391-A6E5-F5AC21B2A81C}" dt="2021-10-21T12:31:21.924" v="236" actId="478"/>
          <ac:spMkLst>
            <pc:docMk/>
            <pc:sldMk cId="3936673180" sldId="7328"/>
            <ac:spMk id="138" creationId="{81C2613B-9923-44A5-971F-EF360B57B50B}"/>
          </ac:spMkLst>
        </pc:spChg>
        <pc:spChg chg="mod">
          <ac:chgData name="ROBERTO ANDRADE MANSUR" userId="10a07775-797c-43e1-ac40-aa24f29d8c96" providerId="ADAL" clId="{8A8AB793-BD22-4391-A6E5-F5AC21B2A81C}" dt="2021-10-21T12:23:19.116" v="124" actId="14100"/>
          <ac:spMkLst>
            <pc:docMk/>
            <pc:sldMk cId="3936673180" sldId="7328"/>
            <ac:spMk id="139" creationId="{A3BE109C-1004-4303-A576-B857569D5B77}"/>
          </ac:spMkLst>
        </pc:spChg>
        <pc:spChg chg="add del mod">
          <ac:chgData name="ROBERTO ANDRADE MANSUR" userId="10a07775-797c-43e1-ac40-aa24f29d8c96" providerId="ADAL" clId="{8A8AB793-BD22-4391-A6E5-F5AC21B2A81C}" dt="2021-10-21T14:17:34.387" v="938" actId="1036"/>
          <ac:spMkLst>
            <pc:docMk/>
            <pc:sldMk cId="3936673180" sldId="7328"/>
            <ac:spMk id="140" creationId="{7551708C-E682-456F-91CA-AC09FCBA3801}"/>
          </ac:spMkLst>
        </pc:spChg>
        <pc:spChg chg="add mod">
          <ac:chgData name="ROBERTO ANDRADE MANSUR" userId="10a07775-797c-43e1-ac40-aa24f29d8c96" providerId="ADAL" clId="{8A8AB793-BD22-4391-A6E5-F5AC21B2A81C}" dt="2021-10-21T14:10:50.152" v="740" actId="1038"/>
          <ac:spMkLst>
            <pc:docMk/>
            <pc:sldMk cId="3936673180" sldId="7328"/>
            <ac:spMk id="141" creationId="{9D73BF18-CFCB-49BF-83BF-92DE3CC5BED7}"/>
          </ac:spMkLst>
        </pc:spChg>
        <pc:spChg chg="mod">
          <ac:chgData name="ROBERTO ANDRADE MANSUR" userId="10a07775-797c-43e1-ac40-aa24f29d8c96" providerId="ADAL" clId="{8A8AB793-BD22-4391-A6E5-F5AC21B2A81C}" dt="2021-10-21T14:12:25.008" v="821" actId="1037"/>
          <ac:spMkLst>
            <pc:docMk/>
            <pc:sldMk cId="3936673180" sldId="7328"/>
            <ac:spMk id="143" creationId="{F69E143F-B032-4B51-9511-4AD2790B7698}"/>
          </ac:spMkLst>
        </pc:spChg>
        <pc:grpChg chg="mod">
          <ac:chgData name="ROBERTO ANDRADE MANSUR" userId="10a07775-797c-43e1-ac40-aa24f29d8c96" providerId="ADAL" clId="{8A8AB793-BD22-4391-A6E5-F5AC21B2A81C}" dt="2021-10-21T14:25:54.351" v="1060" actId="1037"/>
          <ac:grpSpMkLst>
            <pc:docMk/>
            <pc:sldMk cId="3936673180" sldId="7328"/>
            <ac:grpSpMk id="19" creationId="{FF335B90-41EF-4089-A22D-CB2742027F81}"/>
          </ac:grpSpMkLst>
        </pc:grpChg>
        <pc:grpChg chg="mod">
          <ac:chgData name="ROBERTO ANDRADE MANSUR" userId="10a07775-797c-43e1-ac40-aa24f29d8c96" providerId="ADAL" clId="{8A8AB793-BD22-4391-A6E5-F5AC21B2A81C}" dt="2021-10-21T12:33:10.510" v="343" actId="1038"/>
          <ac:grpSpMkLst>
            <pc:docMk/>
            <pc:sldMk cId="3936673180" sldId="7328"/>
            <ac:grpSpMk id="22" creationId="{C06C5816-B9B2-49DA-9F7A-B7F06058F838}"/>
          </ac:grpSpMkLst>
        </pc:grpChg>
        <pc:grpChg chg="add mod">
          <ac:chgData name="ROBERTO ANDRADE MANSUR" userId="10a07775-797c-43e1-ac40-aa24f29d8c96" providerId="ADAL" clId="{8A8AB793-BD22-4391-A6E5-F5AC21B2A81C}" dt="2021-10-21T14:25:54.351" v="1060" actId="1037"/>
          <ac:grpSpMkLst>
            <pc:docMk/>
            <pc:sldMk cId="3936673180" sldId="7328"/>
            <ac:grpSpMk id="26" creationId="{774D1519-1D1E-404A-8612-DD3B7C91F7E7}"/>
          </ac:grpSpMkLst>
        </pc:grpChg>
        <pc:grpChg chg="add mod">
          <ac:chgData name="ROBERTO ANDRADE MANSUR" userId="10a07775-797c-43e1-ac40-aa24f29d8c96" providerId="ADAL" clId="{8A8AB793-BD22-4391-A6E5-F5AC21B2A81C}" dt="2021-10-21T14:25:54.351" v="1060" actId="1037"/>
          <ac:grpSpMkLst>
            <pc:docMk/>
            <pc:sldMk cId="3936673180" sldId="7328"/>
            <ac:grpSpMk id="29" creationId="{30978712-1BFE-45F7-A2A0-B46AD95E2151}"/>
          </ac:grpSpMkLst>
        </pc:grpChg>
        <pc:grpChg chg="add mod">
          <ac:chgData name="ROBERTO ANDRADE MANSUR" userId="10a07775-797c-43e1-ac40-aa24f29d8c96" providerId="ADAL" clId="{8A8AB793-BD22-4391-A6E5-F5AC21B2A81C}" dt="2021-10-21T14:34:35.385" v="1179" actId="164"/>
          <ac:grpSpMkLst>
            <pc:docMk/>
            <pc:sldMk cId="3936673180" sldId="7328"/>
            <ac:grpSpMk id="45" creationId="{7B678441-AF23-437D-A527-F88F19EC0B7D}"/>
          </ac:grpSpMkLst>
        </pc:grpChg>
        <pc:grpChg chg="mod">
          <ac:chgData name="ROBERTO ANDRADE MANSUR" userId="10a07775-797c-43e1-ac40-aa24f29d8c96" providerId="ADAL" clId="{8A8AB793-BD22-4391-A6E5-F5AC21B2A81C}" dt="2021-10-21T12:33:10.510" v="343" actId="1038"/>
          <ac:grpSpMkLst>
            <pc:docMk/>
            <pc:sldMk cId="3936673180" sldId="7328"/>
            <ac:grpSpMk id="104" creationId="{50D2F649-73FD-46C0-B1E8-2DFA7A2BA39B}"/>
          </ac:grpSpMkLst>
        </pc:grpChg>
        <pc:grpChg chg="mod">
          <ac:chgData name="ROBERTO ANDRADE MANSUR" userId="10a07775-797c-43e1-ac40-aa24f29d8c96" providerId="ADAL" clId="{8A8AB793-BD22-4391-A6E5-F5AC21B2A81C}" dt="2021-10-21T12:33:10.510" v="343" actId="1038"/>
          <ac:grpSpMkLst>
            <pc:docMk/>
            <pc:sldMk cId="3936673180" sldId="7328"/>
            <ac:grpSpMk id="106" creationId="{6179B23F-FB6D-4FFA-93F3-86CE2FB1A407}"/>
          </ac:grpSpMkLst>
        </pc:grpChg>
        <pc:grpChg chg="mod">
          <ac:chgData name="ROBERTO ANDRADE MANSUR" userId="10a07775-797c-43e1-ac40-aa24f29d8c96" providerId="ADAL" clId="{8A8AB793-BD22-4391-A6E5-F5AC21B2A81C}" dt="2021-10-21T12:33:10.510" v="343" actId="1038"/>
          <ac:grpSpMkLst>
            <pc:docMk/>
            <pc:sldMk cId="3936673180" sldId="7328"/>
            <ac:grpSpMk id="108" creationId="{6B71F8A0-1DDD-4C5C-AD10-6AB8B1B01768}"/>
          </ac:grpSpMkLst>
        </pc:grpChg>
        <pc:grpChg chg="mod">
          <ac:chgData name="ROBERTO ANDRADE MANSUR" userId="10a07775-797c-43e1-ac40-aa24f29d8c96" providerId="ADAL" clId="{8A8AB793-BD22-4391-A6E5-F5AC21B2A81C}" dt="2021-10-21T14:25:54.351" v="1060" actId="1037"/>
          <ac:grpSpMkLst>
            <pc:docMk/>
            <pc:sldMk cId="3936673180" sldId="7328"/>
            <ac:grpSpMk id="120" creationId="{9E4D7734-E414-4836-B83B-841C732FE2B9}"/>
          </ac:grpSpMkLst>
        </pc:grpChg>
        <pc:grpChg chg="mod">
          <ac:chgData name="ROBERTO ANDRADE MANSUR" userId="10a07775-797c-43e1-ac40-aa24f29d8c96" providerId="ADAL" clId="{8A8AB793-BD22-4391-A6E5-F5AC21B2A81C}" dt="2021-10-21T14:13:53.032" v="865" actId="1036"/>
          <ac:grpSpMkLst>
            <pc:docMk/>
            <pc:sldMk cId="3936673180" sldId="7328"/>
            <ac:grpSpMk id="198" creationId="{2EACF0B0-AF4D-4E54-9F19-EFA047BCBEAD}"/>
          </ac:grpSpMkLst>
        </pc:grpChg>
        <pc:grpChg chg="del">
          <ac:chgData name="ROBERTO ANDRADE MANSUR" userId="10a07775-797c-43e1-ac40-aa24f29d8c96" providerId="ADAL" clId="{8A8AB793-BD22-4391-A6E5-F5AC21B2A81C}" dt="2021-10-21T14:03:45.267" v="648" actId="478"/>
          <ac:grpSpMkLst>
            <pc:docMk/>
            <pc:sldMk cId="3936673180" sldId="7328"/>
            <ac:grpSpMk id="199" creationId="{DBC5EAEA-1E0B-4BF8-8E37-51E308268169}"/>
          </ac:grpSpMkLst>
        </pc:grpChg>
        <pc:graphicFrameChg chg="mod">
          <ac:chgData name="ROBERTO ANDRADE MANSUR" userId="10a07775-797c-43e1-ac40-aa24f29d8c96" providerId="ADAL" clId="{8A8AB793-BD22-4391-A6E5-F5AC21B2A81C}" dt="2021-10-21T13:20:39.027" v="644"/>
          <ac:graphicFrameMkLst>
            <pc:docMk/>
            <pc:sldMk cId="3936673180" sldId="7328"/>
            <ac:graphicFrameMk id="4" creationId="{BD21B5CC-675E-4AD4-9F09-AFBD67376D48}"/>
          </ac:graphicFrameMkLst>
        </pc:graphicFrameChg>
        <pc:picChg chg="add mod">
          <ac:chgData name="ROBERTO ANDRADE MANSUR" userId="10a07775-797c-43e1-ac40-aa24f29d8c96" providerId="ADAL" clId="{8A8AB793-BD22-4391-A6E5-F5AC21B2A81C}" dt="2021-10-21T12:34:27.286" v="354" actId="1076"/>
          <ac:picMkLst>
            <pc:docMk/>
            <pc:sldMk cId="3936673180" sldId="7328"/>
            <ac:picMk id="11" creationId="{1E5846E7-CB84-4AC5-8F8D-6E85BB4DAC75}"/>
          </ac:picMkLst>
        </pc:picChg>
        <pc:picChg chg="add mod">
          <ac:chgData name="ROBERTO ANDRADE MANSUR" userId="10a07775-797c-43e1-ac40-aa24f29d8c96" providerId="ADAL" clId="{8A8AB793-BD22-4391-A6E5-F5AC21B2A81C}" dt="2021-10-21T12:26:16.555" v="209" actId="1076"/>
          <ac:picMkLst>
            <pc:docMk/>
            <pc:sldMk cId="3936673180" sldId="7328"/>
            <ac:picMk id="13" creationId="{AD699744-1F6E-4373-AA12-35A3EAB3B8E7}"/>
          </ac:picMkLst>
        </pc:picChg>
        <pc:picChg chg="add mod">
          <ac:chgData name="ROBERTO ANDRADE MANSUR" userId="10a07775-797c-43e1-ac40-aa24f29d8c96" providerId="ADAL" clId="{8A8AB793-BD22-4391-A6E5-F5AC21B2A81C}" dt="2021-10-21T12:30:29.993" v="217" actId="1076"/>
          <ac:picMkLst>
            <pc:docMk/>
            <pc:sldMk cId="3936673180" sldId="7328"/>
            <ac:picMk id="15" creationId="{E3A4D06B-1E17-4048-94F2-BB30A14E41DF}"/>
          </ac:picMkLst>
        </pc:picChg>
        <pc:picChg chg="add mod">
          <ac:chgData name="ROBERTO ANDRADE MANSUR" userId="10a07775-797c-43e1-ac40-aa24f29d8c96" providerId="ADAL" clId="{8A8AB793-BD22-4391-A6E5-F5AC21B2A81C}" dt="2021-10-21T14:28:20.544" v="1120" actId="554"/>
          <ac:picMkLst>
            <pc:docMk/>
            <pc:sldMk cId="3936673180" sldId="7328"/>
            <ac:picMk id="18" creationId="{169A1791-F766-4FE1-BE1E-CF1821148728}"/>
          </ac:picMkLst>
        </pc:picChg>
        <pc:picChg chg="add mod">
          <ac:chgData name="ROBERTO ANDRADE MANSUR" userId="10a07775-797c-43e1-ac40-aa24f29d8c96" providerId="ADAL" clId="{8A8AB793-BD22-4391-A6E5-F5AC21B2A81C}" dt="2021-10-21T14:29:49.943" v="1147" actId="1037"/>
          <ac:picMkLst>
            <pc:docMk/>
            <pc:sldMk cId="3936673180" sldId="7328"/>
            <ac:picMk id="25" creationId="{6AFF3311-2DF2-451F-83BF-F1978E359A8B}"/>
          </ac:picMkLst>
        </pc:picChg>
        <pc:picChg chg="add mod">
          <ac:chgData name="ROBERTO ANDRADE MANSUR" userId="10a07775-797c-43e1-ac40-aa24f29d8c96" providerId="ADAL" clId="{8A8AB793-BD22-4391-A6E5-F5AC21B2A81C}" dt="2021-10-21T12:44:37.030" v="505" actId="164"/>
          <ac:picMkLst>
            <pc:docMk/>
            <pc:sldMk cId="3936673180" sldId="7328"/>
            <ac:picMk id="28" creationId="{80DBD12D-A6B1-4DF2-9C91-6B84F892B2F4}"/>
          </ac:picMkLst>
        </pc:picChg>
        <pc:picChg chg="add mod">
          <ac:chgData name="ROBERTO ANDRADE MANSUR" userId="10a07775-797c-43e1-ac40-aa24f29d8c96" providerId="ADAL" clId="{8A8AB793-BD22-4391-A6E5-F5AC21B2A81C}" dt="2021-10-21T14:30:09.060" v="1148" actId="554"/>
          <ac:picMkLst>
            <pc:docMk/>
            <pc:sldMk cId="3936673180" sldId="7328"/>
            <ac:picMk id="31" creationId="{4D6A339B-C017-4036-95D8-8C14F08342ED}"/>
          </ac:picMkLst>
        </pc:picChg>
        <pc:picChg chg="add mod">
          <ac:chgData name="ROBERTO ANDRADE MANSUR" userId="10a07775-797c-43e1-ac40-aa24f29d8c96" providerId="ADAL" clId="{8A8AB793-BD22-4391-A6E5-F5AC21B2A81C}" dt="2021-10-21T14:28:39.377" v="1121" actId="14100"/>
          <ac:picMkLst>
            <pc:docMk/>
            <pc:sldMk cId="3936673180" sldId="7328"/>
            <ac:picMk id="35" creationId="{88BD99B6-7D2E-446E-972E-22A3E3566685}"/>
          </ac:picMkLst>
        </pc:picChg>
        <pc:picChg chg="add mod">
          <ac:chgData name="ROBERTO ANDRADE MANSUR" userId="10a07775-797c-43e1-ac40-aa24f29d8c96" providerId="ADAL" clId="{8A8AB793-BD22-4391-A6E5-F5AC21B2A81C}" dt="2021-10-22T12:17:17.838" v="1232" actId="1076"/>
          <ac:picMkLst>
            <pc:docMk/>
            <pc:sldMk cId="3936673180" sldId="7328"/>
            <ac:picMk id="38" creationId="{D9FE85ED-E1E2-4A2A-9B71-D0F40E01BF7D}"/>
          </ac:picMkLst>
        </pc:picChg>
        <pc:picChg chg="add mod">
          <ac:chgData name="ROBERTO ANDRADE MANSUR" userId="10a07775-797c-43e1-ac40-aa24f29d8c96" providerId="ADAL" clId="{8A8AB793-BD22-4391-A6E5-F5AC21B2A81C}" dt="2021-10-21T14:30:09.060" v="1148" actId="554"/>
          <ac:picMkLst>
            <pc:docMk/>
            <pc:sldMk cId="3936673180" sldId="7328"/>
            <ac:picMk id="40" creationId="{1B536047-1AA6-4EDD-99C9-9589E410A216}"/>
          </ac:picMkLst>
        </pc:picChg>
        <pc:picChg chg="add mod">
          <ac:chgData name="ROBERTO ANDRADE MANSUR" userId="10a07775-797c-43e1-ac40-aa24f29d8c96" providerId="ADAL" clId="{8A8AB793-BD22-4391-A6E5-F5AC21B2A81C}" dt="2021-10-21T14:34:35.385" v="1179" actId="164"/>
          <ac:picMkLst>
            <pc:docMk/>
            <pc:sldMk cId="3936673180" sldId="7328"/>
            <ac:picMk id="42" creationId="{F2EAD65A-5164-4E17-AF04-AF63F09561E8}"/>
          </ac:picMkLst>
        </pc:picChg>
        <pc:picChg chg="del">
          <ac:chgData name="ROBERTO ANDRADE MANSUR" userId="10a07775-797c-43e1-ac40-aa24f29d8c96" providerId="ADAL" clId="{8A8AB793-BD22-4391-A6E5-F5AC21B2A81C}" dt="2021-10-21T12:30:44.875" v="222" actId="478"/>
          <ac:picMkLst>
            <pc:docMk/>
            <pc:sldMk cId="3936673180" sldId="7328"/>
            <ac:picMk id="71" creationId="{F9E3C864-D179-4C75-B769-7DE3EED4A7D4}"/>
          </ac:picMkLst>
        </pc:picChg>
        <pc:picChg chg="mod">
          <ac:chgData name="ROBERTO ANDRADE MANSUR" userId="10a07775-797c-43e1-ac40-aa24f29d8c96" providerId="ADAL" clId="{8A8AB793-BD22-4391-A6E5-F5AC21B2A81C}" dt="2021-10-21T14:26:48.672" v="1109" actId="1037"/>
          <ac:picMkLst>
            <pc:docMk/>
            <pc:sldMk cId="3936673180" sldId="7328"/>
            <ac:picMk id="74" creationId="{0DCCBF6B-343E-4C09-88FC-34ECCC69E649}"/>
          </ac:picMkLst>
        </pc:picChg>
        <pc:picChg chg="mod">
          <ac:chgData name="ROBERTO ANDRADE MANSUR" userId="10a07775-797c-43e1-ac40-aa24f29d8c96" providerId="ADAL" clId="{8A8AB793-BD22-4391-A6E5-F5AC21B2A81C}" dt="2021-10-21T14:11:09.265" v="763" actId="1036"/>
          <ac:picMkLst>
            <pc:docMk/>
            <pc:sldMk cId="3936673180" sldId="7328"/>
            <ac:picMk id="77" creationId="{2A75BBD5-8B7E-4A6C-9930-460108676402}"/>
          </ac:picMkLst>
        </pc:picChg>
        <pc:picChg chg="del">
          <ac:chgData name="ROBERTO ANDRADE MANSUR" userId="10a07775-797c-43e1-ac40-aa24f29d8c96" providerId="ADAL" clId="{8A8AB793-BD22-4391-A6E5-F5AC21B2A81C}" dt="2021-10-21T12:26:08.011" v="207" actId="478"/>
          <ac:picMkLst>
            <pc:docMk/>
            <pc:sldMk cId="3936673180" sldId="7328"/>
            <ac:picMk id="97" creationId="{15A0BB19-1A6C-4438-8CEE-7CC030F80DFA}"/>
          </ac:picMkLst>
        </pc:picChg>
        <pc:picChg chg="mod">
          <ac:chgData name="ROBERTO ANDRADE MANSUR" userId="10a07775-797c-43e1-ac40-aa24f29d8c96" providerId="ADAL" clId="{8A8AB793-BD22-4391-A6E5-F5AC21B2A81C}" dt="2021-10-21T14:26:48.672" v="1109" actId="1037"/>
          <ac:picMkLst>
            <pc:docMk/>
            <pc:sldMk cId="3936673180" sldId="7328"/>
            <ac:picMk id="98" creationId="{4C089785-4A92-4711-933F-720AABBF65B4}"/>
          </ac:picMkLst>
        </pc:picChg>
        <pc:picChg chg="mod">
          <ac:chgData name="ROBERTO ANDRADE MANSUR" userId="10a07775-797c-43e1-ac40-aa24f29d8c96" providerId="ADAL" clId="{8A8AB793-BD22-4391-A6E5-F5AC21B2A81C}" dt="2021-10-21T14:25:54.351" v="1060" actId="1037"/>
          <ac:picMkLst>
            <pc:docMk/>
            <pc:sldMk cId="3936673180" sldId="7328"/>
            <ac:picMk id="99" creationId="{4526A581-1F4C-443B-B33A-F6EEB29BF9A8}"/>
          </ac:picMkLst>
        </pc:picChg>
        <pc:picChg chg="add mod">
          <ac:chgData name="ROBERTO ANDRADE MANSUR" userId="10a07775-797c-43e1-ac40-aa24f29d8c96" providerId="ADAL" clId="{8A8AB793-BD22-4391-A6E5-F5AC21B2A81C}" dt="2021-10-21T14:26:48.672" v="1109" actId="1037"/>
          <ac:picMkLst>
            <pc:docMk/>
            <pc:sldMk cId="3936673180" sldId="7328"/>
            <ac:picMk id="124" creationId="{72699D9F-E3D9-41B1-9D25-2EB50A2C260E}"/>
          </ac:picMkLst>
        </pc:picChg>
        <pc:picChg chg="del">
          <ac:chgData name="ROBERTO ANDRADE MANSUR" userId="10a07775-797c-43e1-ac40-aa24f29d8c96" providerId="ADAL" clId="{8A8AB793-BD22-4391-A6E5-F5AC21B2A81C}" dt="2021-10-21T12:24:56.443" v="191" actId="478"/>
          <ac:picMkLst>
            <pc:docMk/>
            <pc:sldMk cId="3936673180" sldId="7328"/>
            <ac:picMk id="127" creationId="{A2B251BF-30B2-42D1-9098-8B049A697118}"/>
          </ac:picMkLst>
        </pc:picChg>
        <pc:picChg chg="del">
          <ac:chgData name="ROBERTO ANDRADE MANSUR" userId="10a07775-797c-43e1-ac40-aa24f29d8c96" providerId="ADAL" clId="{8A8AB793-BD22-4391-A6E5-F5AC21B2A81C}" dt="2021-10-21T12:23:36.555" v="129" actId="478"/>
          <ac:picMkLst>
            <pc:docMk/>
            <pc:sldMk cId="3936673180" sldId="7328"/>
            <ac:picMk id="128" creationId="{EF36A973-AAFE-4172-BB6B-F044FF493A29}"/>
          </ac:picMkLst>
        </pc:picChg>
        <pc:picChg chg="mod">
          <ac:chgData name="ROBERTO ANDRADE MANSUR" userId="10a07775-797c-43e1-ac40-aa24f29d8c96" providerId="ADAL" clId="{8A8AB793-BD22-4391-A6E5-F5AC21B2A81C}" dt="2021-10-21T14:44:31.694" v="1216" actId="1036"/>
          <ac:picMkLst>
            <pc:docMk/>
            <pc:sldMk cId="3936673180" sldId="7328"/>
            <ac:picMk id="129" creationId="{B4ADB1E4-3D0C-4A77-8624-A77B5B9C6826}"/>
          </ac:picMkLst>
        </pc:picChg>
        <pc:picChg chg="del">
          <ac:chgData name="ROBERTO ANDRADE MANSUR" userId="10a07775-797c-43e1-ac40-aa24f29d8c96" providerId="ADAL" clId="{8A8AB793-BD22-4391-A6E5-F5AC21B2A81C}" dt="2021-10-21T12:30:44.188" v="221" actId="478"/>
          <ac:picMkLst>
            <pc:docMk/>
            <pc:sldMk cId="3936673180" sldId="7328"/>
            <ac:picMk id="131" creationId="{BC4C901F-5140-484A-9C10-03E266F60269}"/>
          </ac:picMkLst>
        </pc:picChg>
        <pc:picChg chg="add mod">
          <ac:chgData name="ROBERTO ANDRADE MANSUR" userId="10a07775-797c-43e1-ac40-aa24f29d8c96" providerId="ADAL" clId="{8A8AB793-BD22-4391-A6E5-F5AC21B2A81C}" dt="2021-10-21T14:11:09.265" v="763" actId="1036"/>
          <ac:picMkLst>
            <pc:docMk/>
            <pc:sldMk cId="3936673180" sldId="7328"/>
            <ac:picMk id="134" creationId="{828EC432-4F1C-43AC-9FCA-9779D625D3D7}"/>
          </ac:picMkLst>
        </pc:picChg>
        <pc:picChg chg="add mod">
          <ac:chgData name="ROBERTO ANDRADE MANSUR" userId="10a07775-797c-43e1-ac40-aa24f29d8c96" providerId="ADAL" clId="{8A8AB793-BD22-4391-A6E5-F5AC21B2A81C}" dt="2021-10-22T12:18:11.522" v="1367" actId="207"/>
          <ac:picMkLst>
            <pc:docMk/>
            <pc:sldMk cId="3936673180" sldId="7328"/>
            <ac:picMk id="142" creationId="{A08C75F7-F04D-4198-9805-C181FB11DD86}"/>
          </ac:picMkLst>
        </pc:picChg>
        <pc:picChg chg="del">
          <ac:chgData name="ROBERTO ANDRADE MANSUR" userId="10a07775-797c-43e1-ac40-aa24f29d8c96" providerId="ADAL" clId="{8A8AB793-BD22-4391-A6E5-F5AC21B2A81C}" dt="2021-10-21T12:30:46.091" v="223" actId="478"/>
          <ac:picMkLst>
            <pc:docMk/>
            <pc:sldMk cId="3936673180" sldId="7328"/>
            <ac:picMk id="200" creationId="{B84A03C6-98A3-4797-8CB7-BD7BF0F1138A}"/>
          </ac:picMkLst>
        </pc:picChg>
        <pc:picChg chg="del">
          <ac:chgData name="ROBERTO ANDRADE MANSUR" userId="10a07775-797c-43e1-ac40-aa24f29d8c96" providerId="ADAL" clId="{8A8AB793-BD22-4391-A6E5-F5AC21B2A81C}" dt="2021-10-21T12:32:04.252" v="335" actId="478"/>
          <ac:picMkLst>
            <pc:docMk/>
            <pc:sldMk cId="3936673180" sldId="7328"/>
            <ac:picMk id="201" creationId="{DE0E1A74-3575-4B2A-9BA5-071840E03789}"/>
          </ac:picMkLst>
        </pc:picChg>
        <pc:picChg chg="del">
          <ac:chgData name="ROBERTO ANDRADE MANSUR" userId="10a07775-797c-43e1-ac40-aa24f29d8c96" providerId="ADAL" clId="{8A8AB793-BD22-4391-A6E5-F5AC21B2A81C}" dt="2021-10-21T12:30:46.795" v="224" actId="478"/>
          <ac:picMkLst>
            <pc:docMk/>
            <pc:sldMk cId="3936673180" sldId="7328"/>
            <ac:picMk id="202" creationId="{4957A441-0EBD-4487-A7C1-5FC16F04D687}"/>
          </ac:picMkLst>
        </pc:picChg>
        <pc:picChg chg="del">
          <ac:chgData name="ROBERTO ANDRADE MANSUR" userId="10a07775-797c-43e1-ac40-aa24f29d8c96" providerId="ADAL" clId="{8A8AB793-BD22-4391-A6E5-F5AC21B2A81C}" dt="2021-10-21T12:32:05.323" v="336" actId="478"/>
          <ac:picMkLst>
            <pc:docMk/>
            <pc:sldMk cId="3936673180" sldId="7328"/>
            <ac:picMk id="203" creationId="{63051E23-1B6E-4F69-AF8D-F1FCD512307D}"/>
          </ac:picMkLst>
        </pc:picChg>
        <pc:picChg chg="add mod">
          <ac:chgData name="ROBERTO ANDRADE MANSUR" userId="10a07775-797c-43e1-ac40-aa24f29d8c96" providerId="ADAL" clId="{8A8AB793-BD22-4391-A6E5-F5AC21B2A81C}" dt="2021-10-21T13:24:19.667" v="647" actId="14861"/>
          <ac:picMkLst>
            <pc:docMk/>
            <pc:sldMk cId="3936673180" sldId="7328"/>
            <ac:picMk id="6149" creationId="{B6F7C197-7AFD-4D5C-BCBB-42FA97210605}"/>
          </ac:picMkLst>
        </pc:picChg>
        <pc:picChg chg="add mod">
          <ac:chgData name="ROBERTO ANDRADE MANSUR" userId="10a07775-797c-43e1-ac40-aa24f29d8c96" providerId="ADAL" clId="{8A8AB793-BD22-4391-A6E5-F5AC21B2A81C}" dt="2021-10-21T14:30:09.060" v="1148" actId="554"/>
          <ac:picMkLst>
            <pc:docMk/>
            <pc:sldMk cId="3936673180" sldId="7328"/>
            <ac:picMk id="6151" creationId="{247B1C3E-E6C3-4622-B7E6-727E950309BF}"/>
          </ac:picMkLst>
        </pc:picChg>
        <pc:cxnChg chg="mod">
          <ac:chgData name="ROBERTO ANDRADE MANSUR" userId="10a07775-797c-43e1-ac40-aa24f29d8c96" providerId="ADAL" clId="{8A8AB793-BD22-4391-A6E5-F5AC21B2A81C}" dt="2021-10-21T14:25:41.653" v="1040" actId="1076"/>
          <ac:cxnSpMkLst>
            <pc:docMk/>
            <pc:sldMk cId="3936673180" sldId="7328"/>
            <ac:cxnSpMk id="5" creationId="{F7A2D37A-8FFF-48EB-B00C-0F4C0D0A98C5}"/>
          </ac:cxnSpMkLst>
        </pc:cxnChg>
      </pc:sldChg>
    </pc:docChg>
  </pc:docChgLst>
  <pc:docChgLst>
    <pc:chgData name="ROBERTO ANDRADE MANSUR" userId="10a07775-797c-43e1-ac40-aa24f29d8c96" providerId="ADAL" clId="{BFED318E-DD90-43AD-A84C-0D7CF193F554}"/>
    <pc:docChg chg="undo custSel addSld delSld modSld modSection">
      <pc:chgData name="ROBERTO ANDRADE MANSUR" userId="10a07775-797c-43e1-ac40-aa24f29d8c96" providerId="ADAL" clId="{BFED318E-DD90-43AD-A84C-0D7CF193F554}" dt="2021-11-18T16:59:16.064" v="3963"/>
      <pc:docMkLst>
        <pc:docMk/>
      </pc:docMkLst>
      <pc:sldChg chg="modSp">
        <pc:chgData name="ROBERTO ANDRADE MANSUR" userId="10a07775-797c-43e1-ac40-aa24f29d8c96" providerId="ADAL" clId="{BFED318E-DD90-43AD-A84C-0D7CF193F554}" dt="2021-11-17T13:57:52.759" v="58" actId="20577"/>
        <pc:sldMkLst>
          <pc:docMk/>
          <pc:sldMk cId="27888985" sldId="7125"/>
        </pc:sldMkLst>
        <pc:spChg chg="mod">
          <ac:chgData name="ROBERTO ANDRADE MANSUR" userId="10a07775-797c-43e1-ac40-aa24f29d8c96" providerId="ADAL" clId="{BFED318E-DD90-43AD-A84C-0D7CF193F554}" dt="2021-11-17T13:57:52.759" v="58" actId="20577"/>
          <ac:spMkLst>
            <pc:docMk/>
            <pc:sldMk cId="27888985" sldId="7125"/>
            <ac:spMk id="11" creationId="{BFD7A8F4-B10D-EF41-BBB1-DA3F1227E157}"/>
          </ac:spMkLst>
        </pc:spChg>
      </pc:sldChg>
      <pc:sldChg chg="addSp delSp modSp modAnim">
        <pc:chgData name="ROBERTO ANDRADE MANSUR" userId="10a07775-797c-43e1-ac40-aa24f29d8c96" providerId="ADAL" clId="{BFED318E-DD90-43AD-A84C-0D7CF193F554}" dt="2021-11-18T16:58:14.267" v="3961" actId="20577"/>
        <pc:sldMkLst>
          <pc:docMk/>
          <pc:sldMk cId="3936673180" sldId="7328"/>
        </pc:sldMkLst>
        <pc:spChg chg="del">
          <ac:chgData name="ROBERTO ANDRADE MANSUR" userId="10a07775-797c-43e1-ac40-aa24f29d8c96" providerId="ADAL" clId="{BFED318E-DD90-43AD-A84C-0D7CF193F554}" dt="2021-11-17T13:58:10.594" v="63" actId="478"/>
          <ac:spMkLst>
            <pc:docMk/>
            <pc:sldMk cId="3936673180" sldId="7328"/>
            <ac:spMk id="2" creationId="{681E7203-A72E-484F-964E-CAFBFFB17C52}"/>
          </ac:spMkLst>
        </pc:spChg>
        <pc:spChg chg="mod ord">
          <ac:chgData name="ROBERTO ANDRADE MANSUR" userId="10a07775-797c-43e1-ac40-aa24f29d8c96" providerId="ADAL" clId="{BFED318E-DD90-43AD-A84C-0D7CF193F554}" dt="2021-11-17T18:16:36.479" v="2024"/>
          <ac:spMkLst>
            <pc:docMk/>
            <pc:sldMk cId="3936673180" sldId="7328"/>
            <ac:spMk id="3" creationId="{5FD57E25-1FC2-48A3-BA50-B3DB4FF58947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7" creationId="{FEE5F914-2DEB-4814-B7A2-92E3B3D5F016}"/>
          </ac:spMkLst>
        </pc:spChg>
        <pc:spChg chg="add del mod ord">
          <ac:chgData name="ROBERTO ANDRADE MANSUR" userId="10a07775-797c-43e1-ac40-aa24f29d8c96" providerId="ADAL" clId="{BFED318E-DD90-43AD-A84C-0D7CF193F554}" dt="2021-11-17T18:43:14.492" v="2787" actId="1035"/>
          <ac:spMkLst>
            <pc:docMk/>
            <pc:sldMk cId="3936673180" sldId="7328"/>
            <ac:spMk id="9" creationId="{0568CA45-7249-492C-AA7E-12B1907F703B}"/>
          </ac:spMkLst>
        </pc:spChg>
        <pc:spChg chg="add mod ord">
          <ac:chgData name="ROBERTO ANDRADE MANSUR" userId="10a07775-797c-43e1-ac40-aa24f29d8c96" providerId="ADAL" clId="{BFED318E-DD90-43AD-A84C-0D7CF193F554}" dt="2021-11-17T18:51:46.969" v="2803" actId="1038"/>
          <ac:spMkLst>
            <pc:docMk/>
            <pc:sldMk cId="3936673180" sldId="7328"/>
            <ac:spMk id="14" creationId="{399BE35E-7E94-4B55-884F-89C56FA1427B}"/>
          </ac:spMkLst>
        </pc:spChg>
        <pc:spChg chg="del mod">
          <ac:chgData name="ROBERTO ANDRADE MANSUR" userId="10a07775-797c-43e1-ac40-aa24f29d8c96" providerId="ADAL" clId="{BFED318E-DD90-43AD-A84C-0D7CF193F554}" dt="2021-11-17T13:58:08.282" v="62" actId="478"/>
          <ac:spMkLst>
            <pc:docMk/>
            <pc:sldMk cId="3936673180" sldId="7328"/>
            <ac:spMk id="17" creationId="{2709ACC6-4ECF-4B3E-983B-6BC3EAEB3526}"/>
          </ac:spMkLst>
        </pc:spChg>
        <pc:spChg chg="del">
          <ac:chgData name="ROBERTO ANDRADE MANSUR" userId="10a07775-797c-43e1-ac40-aa24f29d8c96" providerId="ADAL" clId="{BFED318E-DD90-43AD-A84C-0D7CF193F554}" dt="2021-11-17T13:58:07.674" v="60" actId="478"/>
          <ac:spMkLst>
            <pc:docMk/>
            <pc:sldMk cId="3936673180" sldId="7328"/>
            <ac:spMk id="32" creationId="{ED5D4E86-6F20-4814-8D15-7C019FBFD057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33" creationId="{C2762802-7F77-47B6-A69D-9A471C569876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36" creationId="{CF469000-38AA-45BD-B472-1FA9A077AB10}"/>
          </ac:spMkLst>
        </pc:spChg>
        <pc:spChg chg="mod">
          <ac:chgData name="ROBERTO ANDRADE MANSUR" userId="10a07775-797c-43e1-ac40-aa24f29d8c96" providerId="ADAL" clId="{BFED318E-DD90-43AD-A84C-0D7CF193F554}" dt="2021-11-17T14:16:27.067" v="924" actId="207"/>
          <ac:spMkLst>
            <pc:docMk/>
            <pc:sldMk cId="3936673180" sldId="7328"/>
            <ac:spMk id="52" creationId="{3B7742FD-0CB7-4EAF-B0AB-3E8E32DC4E24}"/>
          </ac:spMkLst>
        </pc:spChg>
        <pc:spChg chg="add mod ord topLvl">
          <ac:chgData name="ROBERTO ANDRADE MANSUR" userId="10a07775-797c-43e1-ac40-aa24f29d8c96" providerId="ADAL" clId="{BFED318E-DD90-43AD-A84C-0D7CF193F554}" dt="2021-11-17T18:42:12.761" v="2748" actId="164"/>
          <ac:spMkLst>
            <pc:docMk/>
            <pc:sldMk cId="3936673180" sldId="7328"/>
            <ac:spMk id="54" creationId="{0FC330C4-DC1B-4F06-8C9F-193334FAA893}"/>
          </ac:spMkLst>
        </pc:spChg>
        <pc:spChg chg="add mod ord topLvl">
          <ac:chgData name="ROBERTO ANDRADE MANSUR" userId="10a07775-797c-43e1-ac40-aa24f29d8c96" providerId="ADAL" clId="{BFED318E-DD90-43AD-A84C-0D7CF193F554}" dt="2021-11-17T18:12:54.524" v="1973" actId="164"/>
          <ac:spMkLst>
            <pc:docMk/>
            <pc:sldMk cId="3936673180" sldId="7328"/>
            <ac:spMk id="78" creationId="{A6450B54-372C-469C-A6B9-A7C9CE100EC5}"/>
          </ac:spMkLst>
        </pc:spChg>
        <pc:spChg chg="add mod ord">
          <ac:chgData name="ROBERTO ANDRADE MANSUR" userId="10a07775-797c-43e1-ac40-aa24f29d8c96" providerId="ADAL" clId="{BFED318E-DD90-43AD-A84C-0D7CF193F554}" dt="2021-11-17T18:12:54.524" v="1973" actId="164"/>
          <ac:spMkLst>
            <pc:docMk/>
            <pc:sldMk cId="3936673180" sldId="7328"/>
            <ac:spMk id="80" creationId="{843638CF-5887-4475-A8B9-11A222299C13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83" creationId="{9152CB0A-F136-4A70-85E1-BCE9B0E237CD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84" creationId="{685F99A7-71F0-4198-A638-C33E8CEB54F6}"/>
          </ac:spMkLst>
        </pc:spChg>
        <pc:spChg chg="mod ord">
          <ac:chgData name="ROBERTO ANDRADE MANSUR" userId="10a07775-797c-43e1-ac40-aa24f29d8c96" providerId="ADAL" clId="{BFED318E-DD90-43AD-A84C-0D7CF193F554}" dt="2021-11-18T16:58:14.267" v="3961" actId="20577"/>
          <ac:spMkLst>
            <pc:docMk/>
            <pc:sldMk cId="3936673180" sldId="7328"/>
            <ac:spMk id="85" creationId="{48B6C8B8-36A5-4512-8228-51D5E56D4A14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87" creationId="{7CFACC45-FC20-4B75-A61A-466DE7433047}"/>
          </ac:spMkLst>
        </pc:spChg>
        <pc:spChg chg="add del mod">
          <ac:chgData name="ROBERTO ANDRADE MANSUR" userId="10a07775-797c-43e1-ac40-aa24f29d8c96" providerId="ADAL" clId="{BFED318E-DD90-43AD-A84C-0D7CF193F554}" dt="2021-11-17T14:03:09.852" v="358"/>
          <ac:spMkLst>
            <pc:docMk/>
            <pc:sldMk cId="3936673180" sldId="7328"/>
            <ac:spMk id="91" creationId="{09D46A8B-B849-4D7A-9B63-A1867F6CB3E4}"/>
          </ac:spMkLst>
        </pc:spChg>
        <pc:spChg chg="add del">
          <ac:chgData name="ROBERTO ANDRADE MANSUR" userId="10a07775-797c-43e1-ac40-aa24f29d8c96" providerId="ADAL" clId="{BFED318E-DD90-43AD-A84C-0D7CF193F554}" dt="2021-11-17T14:03:09.251" v="356"/>
          <ac:spMkLst>
            <pc:docMk/>
            <pc:sldMk cId="3936673180" sldId="7328"/>
            <ac:spMk id="92" creationId="{E333FAAE-D851-4A11-9B19-2186BF35695C}"/>
          </ac:spMkLst>
        </pc:spChg>
        <pc:spChg chg="add mod ord">
          <ac:chgData name="ROBERTO ANDRADE MANSUR" userId="10a07775-797c-43e1-ac40-aa24f29d8c96" providerId="ADAL" clId="{BFED318E-DD90-43AD-A84C-0D7CF193F554}" dt="2021-11-17T18:51:36.149" v="2797" actId="404"/>
          <ac:spMkLst>
            <pc:docMk/>
            <pc:sldMk cId="3936673180" sldId="7328"/>
            <ac:spMk id="94" creationId="{BAF3CCD4-386D-4920-A867-377FADBFFBCC}"/>
          </ac:spMkLst>
        </pc:spChg>
        <pc:spChg chg="add mod ord">
          <ac:chgData name="ROBERTO ANDRADE MANSUR" userId="10a07775-797c-43e1-ac40-aa24f29d8c96" providerId="ADAL" clId="{BFED318E-DD90-43AD-A84C-0D7CF193F554}" dt="2021-11-17T18:51:48.486" v="2804" actId="1038"/>
          <ac:spMkLst>
            <pc:docMk/>
            <pc:sldMk cId="3936673180" sldId="7328"/>
            <ac:spMk id="95" creationId="{2CC2EF4D-29CA-42F5-A2D6-2953D22D7B58}"/>
          </ac:spMkLst>
        </pc:spChg>
        <pc:spChg chg="add mod ord">
          <ac:chgData name="ROBERTO ANDRADE MANSUR" userId="10a07775-797c-43e1-ac40-aa24f29d8c96" providerId="ADAL" clId="{BFED318E-DD90-43AD-A84C-0D7CF193F554}" dt="2021-11-17T18:51:52.034" v="2809" actId="1037"/>
          <ac:spMkLst>
            <pc:docMk/>
            <pc:sldMk cId="3936673180" sldId="7328"/>
            <ac:spMk id="96" creationId="{F8FB938E-F39D-4E83-B8D4-E593DA05DCAD}"/>
          </ac:spMkLst>
        </pc:spChg>
        <pc:spChg chg="add del mod">
          <ac:chgData name="ROBERTO ANDRADE MANSUR" userId="10a07775-797c-43e1-ac40-aa24f29d8c96" providerId="ADAL" clId="{BFED318E-DD90-43AD-A84C-0D7CF193F554}" dt="2021-11-17T14:12:10.914" v="851" actId="478"/>
          <ac:spMkLst>
            <pc:docMk/>
            <pc:sldMk cId="3936673180" sldId="7328"/>
            <ac:spMk id="97" creationId="{933EB35E-33A2-41ED-9D1F-49D48E869227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00" creationId="{1FAE6B5D-3018-4D10-B045-A5895F1376E5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03" creationId="{A5F6D742-6550-4EE0-AAE8-D0B69A9633D1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13" creationId="{E6E0940B-C7A4-4FC7-AEB5-57C066304AF3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16" creationId="{3CB6A3F6-7E02-452D-A861-AAB801153034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19" creationId="{3C5E9CF2-1B11-4ECA-8B83-10A1A4F385DE}"/>
          </ac:spMkLst>
        </pc:spChg>
        <pc:spChg chg="add mod ord topLvl">
          <ac:chgData name="ROBERTO ANDRADE MANSUR" userId="10a07775-797c-43e1-ac40-aa24f29d8c96" providerId="ADAL" clId="{BFED318E-DD90-43AD-A84C-0D7CF193F554}" dt="2021-11-17T18:42:12.761" v="2748" actId="164"/>
          <ac:spMkLst>
            <pc:docMk/>
            <pc:sldMk cId="3936673180" sldId="7328"/>
            <ac:spMk id="127" creationId="{1CA8EBA6-DD3D-4B29-AE6F-CE26CCDFCD87}"/>
          </ac:spMkLst>
        </pc:spChg>
        <pc:spChg chg="mod ord">
          <ac:chgData name="ROBERTO ANDRADE MANSUR" userId="10a07775-797c-43e1-ac40-aa24f29d8c96" providerId="ADAL" clId="{BFED318E-DD90-43AD-A84C-0D7CF193F554}" dt="2021-11-17T18:43:14.492" v="2787" actId="1035"/>
          <ac:spMkLst>
            <pc:docMk/>
            <pc:sldMk cId="3936673180" sldId="7328"/>
            <ac:spMk id="130" creationId="{B26551C4-EC2E-4329-B764-E42908ECF154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39" creationId="{A3BE109C-1004-4303-A576-B857569D5B77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40" creationId="{7551708C-E682-456F-91CA-AC09FCBA3801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41" creationId="{9D73BF18-CFCB-49BF-83BF-92DE3CC5BED7}"/>
          </ac:spMkLst>
        </pc:spChg>
        <pc:spChg chg="del">
          <ac:chgData name="ROBERTO ANDRADE MANSUR" userId="10a07775-797c-43e1-ac40-aa24f29d8c96" providerId="ADAL" clId="{BFED318E-DD90-43AD-A84C-0D7CF193F554}" dt="2021-11-17T13:58:06.271" v="59" actId="478"/>
          <ac:spMkLst>
            <pc:docMk/>
            <pc:sldMk cId="3936673180" sldId="7328"/>
            <ac:spMk id="143" creationId="{F69E143F-B032-4B51-9511-4AD2790B7698}"/>
          </ac:spMkLst>
        </pc:spChg>
        <pc:spChg chg="add mod ord">
          <ac:chgData name="ROBERTO ANDRADE MANSUR" userId="10a07775-797c-43e1-ac40-aa24f29d8c96" providerId="ADAL" clId="{BFED318E-DD90-43AD-A84C-0D7CF193F554}" dt="2021-11-17T18:42:12.761" v="2748" actId="164"/>
          <ac:spMkLst>
            <pc:docMk/>
            <pc:sldMk cId="3936673180" sldId="7328"/>
            <ac:spMk id="145" creationId="{941BB218-D649-456F-9F29-2E4C048F8D4C}"/>
          </ac:spMkLst>
        </pc:spChg>
        <pc:spChg chg="add mod ord topLvl">
          <ac:chgData name="ROBERTO ANDRADE MANSUR" userId="10a07775-797c-43e1-ac40-aa24f29d8c96" providerId="ADAL" clId="{BFED318E-DD90-43AD-A84C-0D7CF193F554}" dt="2021-11-17T18:42:12.761" v="2748" actId="164"/>
          <ac:spMkLst>
            <pc:docMk/>
            <pc:sldMk cId="3936673180" sldId="7328"/>
            <ac:spMk id="148" creationId="{54029DAE-BFD7-4183-98E6-47F8F88A8333}"/>
          </ac:spMkLst>
        </pc:spChg>
        <pc:spChg chg="add mod ord topLvl">
          <ac:chgData name="ROBERTO ANDRADE MANSUR" userId="10a07775-797c-43e1-ac40-aa24f29d8c96" providerId="ADAL" clId="{BFED318E-DD90-43AD-A84C-0D7CF193F554}" dt="2021-11-17T18:42:12.761" v="2748" actId="164"/>
          <ac:spMkLst>
            <pc:docMk/>
            <pc:sldMk cId="3936673180" sldId="7328"/>
            <ac:spMk id="149" creationId="{8551BA5A-C1D8-441D-95BA-03FAB28801AF}"/>
          </ac:spMkLst>
        </pc:spChg>
        <pc:spChg chg="add del mod">
          <ac:chgData name="ROBERTO ANDRADE MANSUR" userId="10a07775-797c-43e1-ac40-aa24f29d8c96" providerId="ADAL" clId="{BFED318E-DD90-43AD-A84C-0D7CF193F554}" dt="2021-11-17T16:23:44.497" v="1418" actId="478"/>
          <ac:spMkLst>
            <pc:docMk/>
            <pc:sldMk cId="3936673180" sldId="7328"/>
            <ac:spMk id="150" creationId="{B22DB775-82AA-4357-9311-7987D18283DC}"/>
          </ac:spMkLst>
        </pc:spChg>
        <pc:spChg chg="add mod ord">
          <ac:chgData name="ROBERTO ANDRADE MANSUR" userId="10a07775-797c-43e1-ac40-aa24f29d8c96" providerId="ADAL" clId="{BFED318E-DD90-43AD-A84C-0D7CF193F554}" dt="2021-11-17T18:41:26.653" v="2744" actId="164"/>
          <ac:spMkLst>
            <pc:docMk/>
            <pc:sldMk cId="3936673180" sldId="7328"/>
            <ac:spMk id="151" creationId="{E37D10E6-A769-402D-BB36-EB3496637762}"/>
          </ac:spMkLst>
        </pc:spChg>
        <pc:spChg chg="add mod">
          <ac:chgData name="ROBERTO ANDRADE MANSUR" userId="10a07775-797c-43e1-ac40-aa24f29d8c96" providerId="ADAL" clId="{BFED318E-DD90-43AD-A84C-0D7CF193F554}" dt="2021-11-17T18:41:26.653" v="2744" actId="164"/>
          <ac:spMkLst>
            <pc:docMk/>
            <pc:sldMk cId="3936673180" sldId="7328"/>
            <ac:spMk id="200" creationId="{02A2DA71-0E82-4630-A881-C65159E4A33F}"/>
          </ac:spMkLst>
        </pc:spChg>
        <pc:spChg chg="add mod">
          <ac:chgData name="ROBERTO ANDRADE MANSUR" userId="10a07775-797c-43e1-ac40-aa24f29d8c96" providerId="ADAL" clId="{BFED318E-DD90-43AD-A84C-0D7CF193F554}" dt="2021-11-17T18:41:26.653" v="2744" actId="164"/>
          <ac:spMkLst>
            <pc:docMk/>
            <pc:sldMk cId="3936673180" sldId="7328"/>
            <ac:spMk id="201" creationId="{14BA58BC-28A4-4104-83EC-25FEAFF358DC}"/>
          </ac:spMkLst>
        </pc:spChg>
        <pc:spChg chg="add mod">
          <ac:chgData name="ROBERTO ANDRADE MANSUR" userId="10a07775-797c-43e1-ac40-aa24f29d8c96" providerId="ADAL" clId="{BFED318E-DD90-43AD-A84C-0D7CF193F554}" dt="2021-11-17T18:41:26.653" v="2744" actId="164"/>
          <ac:spMkLst>
            <pc:docMk/>
            <pc:sldMk cId="3936673180" sldId="7328"/>
            <ac:spMk id="205" creationId="{413532B4-061E-4457-9871-8AA2E667518E}"/>
          </ac:spMkLst>
        </pc:spChg>
        <pc:spChg chg="add mod">
          <ac:chgData name="ROBERTO ANDRADE MANSUR" userId="10a07775-797c-43e1-ac40-aa24f29d8c96" providerId="ADAL" clId="{BFED318E-DD90-43AD-A84C-0D7CF193F554}" dt="2021-11-18T12:05:09.367" v="3935" actId="20577"/>
          <ac:spMkLst>
            <pc:docMk/>
            <pc:sldMk cId="3936673180" sldId="7328"/>
            <ac:spMk id="206" creationId="{75A35ED3-6125-4F94-B077-5B7B0813E28F}"/>
          </ac:spMkLst>
        </pc:spChg>
        <pc:spChg chg="add mod topLvl">
          <ac:chgData name="ROBERTO ANDRADE MANSUR" userId="10a07775-797c-43e1-ac40-aa24f29d8c96" providerId="ADAL" clId="{BFED318E-DD90-43AD-A84C-0D7CF193F554}" dt="2021-11-17T18:45:09.434" v="2795" actId="113"/>
          <ac:spMkLst>
            <pc:docMk/>
            <pc:sldMk cId="3936673180" sldId="7328"/>
            <ac:spMk id="211" creationId="{CF1BD864-2C51-4F8A-B2B8-9C71A2011493}"/>
          </ac:spMkLst>
        </pc:spChg>
        <pc:spChg chg="add mod">
          <ac:chgData name="ROBERTO ANDRADE MANSUR" userId="10a07775-797c-43e1-ac40-aa24f29d8c96" providerId="ADAL" clId="{BFED318E-DD90-43AD-A84C-0D7CF193F554}" dt="2021-11-17T18:45:08.866" v="2794" actId="113"/>
          <ac:spMkLst>
            <pc:docMk/>
            <pc:sldMk cId="3936673180" sldId="7328"/>
            <ac:spMk id="212" creationId="{6268777C-2392-43D6-8E7D-9F6884D5DE8A}"/>
          </ac:spMkLst>
        </pc:spChg>
        <pc:spChg chg="add mod ord">
          <ac:chgData name="ROBERTO ANDRADE MANSUR" userId="10a07775-797c-43e1-ac40-aa24f29d8c96" providerId="ADAL" clId="{BFED318E-DD90-43AD-A84C-0D7CF193F554}" dt="2021-11-17T18:17:04.714" v="2099" actId="164"/>
          <ac:spMkLst>
            <pc:docMk/>
            <pc:sldMk cId="3936673180" sldId="7328"/>
            <ac:spMk id="6159" creationId="{304AA595-DC0F-46AB-85F7-EB7ABB2B6F7C}"/>
          </ac:spMkLst>
        </pc:spChg>
        <pc:spChg chg="add mod">
          <ac:chgData name="ROBERTO ANDRADE MANSUR" userId="10a07775-797c-43e1-ac40-aa24f29d8c96" providerId="ADAL" clId="{BFED318E-DD90-43AD-A84C-0D7CF193F554}" dt="2021-11-17T18:41:26.653" v="2744" actId="164"/>
          <ac:spMkLst>
            <pc:docMk/>
            <pc:sldMk cId="3936673180" sldId="7328"/>
            <ac:spMk id="6167" creationId="{7AB9B804-7CCF-49E4-BD40-347CADD1772B}"/>
          </ac:spMkLst>
        </pc:spChg>
        <pc:spChg chg="add mod">
          <ac:chgData name="ROBERTO ANDRADE MANSUR" userId="10a07775-797c-43e1-ac40-aa24f29d8c96" providerId="ADAL" clId="{BFED318E-DD90-43AD-A84C-0D7CF193F554}" dt="2021-11-17T18:44:53.625" v="2791" actId="113"/>
          <ac:spMkLst>
            <pc:docMk/>
            <pc:sldMk cId="3936673180" sldId="7328"/>
            <ac:spMk id="6172" creationId="{D08F57A5-DF0F-4988-A81B-222AF0AD1734}"/>
          </ac:spMkLst>
        </pc:s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19" creationId="{FF335B90-41EF-4089-A22D-CB2742027F81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1" creationId="{EF0C61BA-53A4-4E6C-98E6-E2DA69D9D9C8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2" creationId="{C06C5816-B9B2-49DA-9F7A-B7F06058F838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3" creationId="{5AD240E8-A389-4722-9047-C8F04A18A46E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4" creationId="{DADB94CC-7374-4B30-AE62-3452645F0F44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6" creationId="{774D1519-1D1E-404A-8612-DD3B7C91F7E7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29" creationId="{30978712-1BFE-45F7-A2A0-B46AD95E2151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45" creationId="{7B678441-AF23-437D-A527-F88F19EC0B7D}"/>
          </ac:grpSpMkLst>
        </pc:grpChg>
        <pc:grpChg chg="add mod ord topLvl">
          <ac:chgData name="ROBERTO ANDRADE MANSUR" userId="10a07775-797c-43e1-ac40-aa24f29d8c96" providerId="ADAL" clId="{BFED318E-DD90-43AD-A84C-0D7CF193F554}" dt="2021-11-17T18:43:14.492" v="2787" actId="1035"/>
          <ac:grpSpMkLst>
            <pc:docMk/>
            <pc:sldMk cId="3936673180" sldId="7328"/>
            <ac:grpSpMk id="48" creationId="{B3799673-7F18-4C28-AA9C-F612380A11F2}"/>
          </ac:grpSpMkLst>
        </pc:grpChg>
        <pc:grpChg chg="mod ord topLvl">
          <ac:chgData name="ROBERTO ANDRADE MANSUR" userId="10a07775-797c-43e1-ac40-aa24f29d8c96" providerId="ADAL" clId="{BFED318E-DD90-43AD-A84C-0D7CF193F554}" dt="2021-11-17T18:43:14.492" v="2787" actId="1035"/>
          <ac:grpSpMkLst>
            <pc:docMk/>
            <pc:sldMk cId="3936673180" sldId="7328"/>
            <ac:grpSpMk id="51" creationId="{9EB6FA1B-52B7-4D26-A153-CC6E3A4CD434}"/>
          </ac:grpSpMkLst>
        </pc:grpChg>
        <pc:grpChg chg="add del mod">
          <ac:chgData name="ROBERTO ANDRADE MANSUR" userId="10a07775-797c-43e1-ac40-aa24f29d8c96" providerId="ADAL" clId="{BFED318E-DD90-43AD-A84C-0D7CF193F554}" dt="2021-11-17T18:09:41.129" v="1770" actId="165"/>
          <ac:grpSpMkLst>
            <pc:docMk/>
            <pc:sldMk cId="3936673180" sldId="7328"/>
            <ac:grpSpMk id="79" creationId="{3552FBCD-DAEB-4C15-BD0D-E64106168AFE}"/>
          </ac:grpSpMkLst>
        </pc:grpChg>
        <pc:grpChg chg="add mod ord">
          <ac:chgData name="ROBERTO ANDRADE MANSUR" userId="10a07775-797c-43e1-ac40-aa24f29d8c96" providerId="ADAL" clId="{BFED318E-DD90-43AD-A84C-0D7CF193F554}" dt="2021-11-17T18:52:33.276" v="2815" actId="1038"/>
          <ac:grpSpMkLst>
            <pc:docMk/>
            <pc:sldMk cId="3936673180" sldId="7328"/>
            <ac:grpSpMk id="93" creationId="{0BC88D4E-B8D5-467D-B365-D32CEA9D3FC5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197" creationId="{BC7BE63A-1949-47AC-851E-2EA870160FA5}"/>
          </ac:grpSpMkLst>
        </pc:grpChg>
        <pc:grpChg chg="del">
          <ac:chgData name="ROBERTO ANDRADE MANSUR" userId="10a07775-797c-43e1-ac40-aa24f29d8c96" providerId="ADAL" clId="{BFED318E-DD90-43AD-A84C-0D7CF193F554}" dt="2021-11-17T13:58:06.271" v="59" actId="478"/>
          <ac:grpSpMkLst>
            <pc:docMk/>
            <pc:sldMk cId="3936673180" sldId="7328"/>
            <ac:grpSpMk id="198" creationId="{2EACF0B0-AF4D-4E54-9F19-EFA047BCBEAD}"/>
          </ac:grpSpMkLst>
        </pc:grpChg>
        <pc:grpChg chg="add del mod">
          <ac:chgData name="ROBERTO ANDRADE MANSUR" userId="10a07775-797c-43e1-ac40-aa24f29d8c96" providerId="ADAL" clId="{BFED318E-DD90-43AD-A84C-0D7CF193F554}" dt="2021-11-17T18:17:15.935" v="2101" actId="478"/>
          <ac:grpSpMkLst>
            <pc:docMk/>
            <pc:sldMk cId="3936673180" sldId="7328"/>
            <ac:grpSpMk id="6160" creationId="{0C4E8D9C-9B3B-464D-BEE5-E93724BA4681}"/>
          </ac:grpSpMkLst>
        </pc:grpChg>
        <pc:grpChg chg="add del mod">
          <ac:chgData name="ROBERTO ANDRADE MANSUR" userId="10a07775-797c-43e1-ac40-aa24f29d8c96" providerId="ADAL" clId="{BFED318E-DD90-43AD-A84C-0D7CF193F554}" dt="2021-11-17T18:18:52.986" v="2113" actId="165"/>
          <ac:grpSpMkLst>
            <pc:docMk/>
            <pc:sldMk cId="3936673180" sldId="7328"/>
            <ac:grpSpMk id="6163" creationId="{7C5C94C4-D9E8-4DD2-B331-B43B3D1E1402}"/>
          </ac:grpSpMkLst>
        </pc:grpChg>
        <pc:grpChg chg="add del mod">
          <ac:chgData name="ROBERTO ANDRADE MANSUR" userId="10a07775-797c-43e1-ac40-aa24f29d8c96" providerId="ADAL" clId="{BFED318E-DD90-43AD-A84C-0D7CF193F554}" dt="2021-11-17T18:42:01.506" v="2747" actId="165"/>
          <ac:grpSpMkLst>
            <pc:docMk/>
            <pc:sldMk cId="3936673180" sldId="7328"/>
            <ac:grpSpMk id="6173" creationId="{8BDE6D9C-644B-4F5D-9414-228EB37D4248}"/>
          </ac:grpSpMkLst>
        </pc:grpChg>
        <pc:grpChg chg="add mod">
          <ac:chgData name="ROBERTO ANDRADE MANSUR" userId="10a07775-797c-43e1-ac40-aa24f29d8c96" providerId="ADAL" clId="{BFED318E-DD90-43AD-A84C-0D7CF193F554}" dt="2021-11-17T18:52:33.276" v="2815" actId="1038"/>
          <ac:grpSpMkLst>
            <pc:docMk/>
            <pc:sldMk cId="3936673180" sldId="7328"/>
            <ac:grpSpMk id="6174" creationId="{ADF19BE8-27B2-4209-93F8-2622BB984E6D}"/>
          </ac:grpSpMkLst>
        </pc:grpChg>
        <pc:grpChg chg="add mod">
          <ac:chgData name="ROBERTO ANDRADE MANSUR" userId="10a07775-797c-43e1-ac40-aa24f29d8c96" providerId="ADAL" clId="{BFED318E-DD90-43AD-A84C-0D7CF193F554}" dt="2021-11-17T18:43:14.492" v="2787" actId="1035"/>
          <ac:grpSpMkLst>
            <pc:docMk/>
            <pc:sldMk cId="3936673180" sldId="7328"/>
            <ac:grpSpMk id="6175" creationId="{97F2906D-BFAD-419F-B21C-2D10FBE23481}"/>
          </ac:grpSpMkLst>
        </pc:grpChg>
        <pc:graphicFrameChg chg="mod">
          <ac:chgData name="ROBERTO ANDRADE MANSUR" userId="10a07775-797c-43e1-ac40-aa24f29d8c96" providerId="ADAL" clId="{BFED318E-DD90-43AD-A84C-0D7CF193F554}" dt="2021-11-17T18:16:36.522" v="2094"/>
          <ac:graphicFrameMkLst>
            <pc:docMk/>
            <pc:sldMk cId="3936673180" sldId="7328"/>
            <ac:graphicFrameMk id="4" creationId="{BD21B5CC-675E-4AD4-9F09-AFBD67376D48}"/>
          </ac:graphicFrameMkLst>
        </pc:graphicFrameChg>
        <pc:picChg chg="add mod ord">
          <ac:chgData name="ROBERTO ANDRADE MANSUR" userId="10a07775-797c-43e1-ac40-aa24f29d8c96" providerId="ADAL" clId="{BFED318E-DD90-43AD-A84C-0D7CF193F554}" dt="2021-11-17T18:43:14.492" v="2787" actId="1035"/>
          <ac:picMkLst>
            <pc:docMk/>
            <pc:sldMk cId="3936673180" sldId="7328"/>
            <ac:picMk id="8" creationId="{C51C1A4A-7DAE-4E46-8E09-573FE2B6EED3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1" creationId="{1E5846E7-CB84-4AC5-8F8D-6E85BB4DAC75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3" creationId="{AD699744-1F6E-4373-AA12-35A3EAB3B8E7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5" creationId="{E3A4D06B-1E17-4048-94F2-BB30A14E41DF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8" creationId="{169A1791-F766-4FE1-BE1E-CF1821148728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25" creationId="{6AFF3311-2DF2-451F-83BF-F1978E359A8B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31" creationId="{4D6A339B-C017-4036-95D8-8C14F08342ED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35" creationId="{88BD99B6-7D2E-446E-972E-22A3E3566685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38" creationId="{D9FE85ED-E1E2-4A2A-9B71-D0F40E01BF7D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40" creationId="{1B536047-1AA6-4EDD-99C9-9589E410A216}"/>
          </ac:picMkLst>
        </pc:picChg>
        <pc:picChg chg="add del mod">
          <ac:chgData name="ROBERTO ANDRADE MANSUR" userId="10a07775-797c-43e1-ac40-aa24f29d8c96" providerId="ADAL" clId="{BFED318E-DD90-43AD-A84C-0D7CF193F554}" dt="2021-11-17T14:16:10.639" v="923" actId="27803"/>
          <ac:picMkLst>
            <pc:docMk/>
            <pc:sldMk cId="3936673180" sldId="7328"/>
            <ac:picMk id="50" creationId="{9EB6FA1B-52B7-4D26-A153-CC6E3A4CD434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56" creationId="{785C8578-FF44-4EA5-A93A-B9F7AC790A48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58" creationId="{676D9EBE-FC64-4AC0-812C-FAA867CEF909}"/>
          </ac:picMkLst>
        </pc:picChg>
        <pc:picChg chg="add del mod">
          <ac:chgData name="ROBERTO ANDRADE MANSUR" userId="10a07775-797c-43e1-ac40-aa24f29d8c96" providerId="ADAL" clId="{BFED318E-DD90-43AD-A84C-0D7CF193F554}" dt="2021-11-17T14:23:42.107" v="1000" actId="478"/>
          <ac:picMkLst>
            <pc:docMk/>
            <pc:sldMk cId="3936673180" sldId="7328"/>
            <ac:picMk id="60" creationId="{E1BD7D02-B066-4A84-9262-7BEEC4FADB7F}"/>
          </ac:picMkLst>
        </pc:picChg>
        <pc:picChg chg="add mod ord topLvl">
          <ac:chgData name="ROBERTO ANDRADE MANSUR" userId="10a07775-797c-43e1-ac40-aa24f29d8c96" providerId="ADAL" clId="{BFED318E-DD90-43AD-A84C-0D7CF193F554}" dt="2021-11-17T18:12:54.524" v="1973" actId="164"/>
          <ac:picMkLst>
            <pc:docMk/>
            <pc:sldMk cId="3936673180" sldId="7328"/>
            <ac:picMk id="68" creationId="{9C5978D7-C9CC-4814-BCD6-5ED4F038D9F8}"/>
          </ac:picMkLst>
        </pc:picChg>
        <pc:picChg chg="add mod ord topLvl">
          <ac:chgData name="ROBERTO ANDRADE MANSUR" userId="10a07775-797c-43e1-ac40-aa24f29d8c96" providerId="ADAL" clId="{BFED318E-DD90-43AD-A84C-0D7CF193F554}" dt="2021-11-17T18:12:54.524" v="1973" actId="164"/>
          <ac:picMkLst>
            <pc:docMk/>
            <pc:sldMk cId="3936673180" sldId="7328"/>
            <ac:picMk id="70" creationId="{54C975DB-05B1-45BE-AFC0-EAC0502C98B6}"/>
          </ac:picMkLst>
        </pc:picChg>
        <pc:picChg chg="add mod ord topLvl">
          <ac:chgData name="ROBERTO ANDRADE MANSUR" userId="10a07775-797c-43e1-ac40-aa24f29d8c96" providerId="ADAL" clId="{BFED318E-DD90-43AD-A84C-0D7CF193F554}" dt="2021-11-17T18:12:54.524" v="1973" actId="164"/>
          <ac:picMkLst>
            <pc:docMk/>
            <pc:sldMk cId="3936673180" sldId="7328"/>
            <ac:picMk id="72" creationId="{FC6237DD-593D-40FB-9C53-642DE4424798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73" creationId="{A7EB1162-DE14-44B2-9390-7C4F2FF1EA12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74" creationId="{0DCCBF6B-343E-4C09-88FC-34ECCC69E649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77" creationId="{2A75BBD5-8B7E-4A6C-9930-460108676402}"/>
          </ac:picMkLst>
        </pc:picChg>
        <pc:picChg chg="add mod ord">
          <ac:chgData name="ROBERTO ANDRADE MANSUR" userId="10a07775-797c-43e1-ac40-aa24f29d8c96" providerId="ADAL" clId="{BFED318E-DD90-43AD-A84C-0D7CF193F554}" dt="2021-11-17T18:43:14.492" v="2787" actId="1035"/>
          <ac:picMkLst>
            <pc:docMk/>
            <pc:sldMk cId="3936673180" sldId="7328"/>
            <ac:picMk id="88" creationId="{B058F101-0061-435B-8089-5BC3A6ED18CF}"/>
          </ac:picMkLst>
        </pc:picChg>
        <pc:picChg chg="add mod ord">
          <ac:chgData name="ROBERTO ANDRADE MANSUR" userId="10a07775-797c-43e1-ac40-aa24f29d8c96" providerId="ADAL" clId="{BFED318E-DD90-43AD-A84C-0D7CF193F554}" dt="2021-11-17T18:43:14.492" v="2787" actId="1035"/>
          <ac:picMkLst>
            <pc:docMk/>
            <pc:sldMk cId="3936673180" sldId="7328"/>
            <ac:picMk id="89" creationId="{D3142AB0-3CAF-49BE-94DA-99AD1D8A7300}"/>
          </ac:picMkLst>
        </pc:picChg>
        <pc:picChg chg="add mod ord">
          <ac:chgData name="ROBERTO ANDRADE MANSUR" userId="10a07775-797c-43e1-ac40-aa24f29d8c96" providerId="ADAL" clId="{BFED318E-DD90-43AD-A84C-0D7CF193F554}" dt="2021-11-17T18:43:14.492" v="2787" actId="1035"/>
          <ac:picMkLst>
            <pc:docMk/>
            <pc:sldMk cId="3936673180" sldId="7328"/>
            <ac:picMk id="90" creationId="{AECD8150-CCD0-41C6-A4C5-79BD467F55F4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98" creationId="{4C089785-4A92-4711-933F-720AABBF65B4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99" creationId="{4526A581-1F4C-443B-B33A-F6EEB29BF9A8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24" creationId="{72699D9F-E3D9-41B1-9D25-2EB50A2C260E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128" creationId="{7A7A496C-1640-436E-A8B9-3FD33E4CC11C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29" creationId="{B4ADB1E4-3D0C-4A77-8624-A77B5B9C6826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131" creationId="{B1D3D781-59DA-416B-BE8F-8B4E2513839E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132" creationId="{12593E29-F862-4360-9A6D-BFA4B45961C5}"/>
          </ac:picMkLst>
        </pc:picChg>
        <pc:picChg chg="add mod ord topLvl">
          <ac:chgData name="ROBERTO ANDRADE MANSUR" userId="10a07775-797c-43e1-ac40-aa24f29d8c96" providerId="ADAL" clId="{BFED318E-DD90-43AD-A84C-0D7CF193F554}" dt="2021-11-17T18:42:12.761" v="2748" actId="164"/>
          <ac:picMkLst>
            <pc:docMk/>
            <pc:sldMk cId="3936673180" sldId="7328"/>
            <ac:picMk id="133" creationId="{A7A02172-E9A0-4A8C-9B87-D9AF24E76B55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34" creationId="{828EC432-4F1C-43AC-9FCA-9779D625D3D7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142" creationId="{A08C75F7-F04D-4198-9805-C181FB11DD86}"/>
          </ac:picMkLst>
        </pc:picChg>
        <pc:picChg chg="add del mod ord">
          <ac:chgData name="ROBERTO ANDRADE MANSUR" userId="10a07775-797c-43e1-ac40-aa24f29d8c96" providerId="ADAL" clId="{BFED318E-DD90-43AD-A84C-0D7CF193F554}" dt="2021-11-17T18:12:40.072" v="1969" actId="478"/>
          <ac:picMkLst>
            <pc:docMk/>
            <pc:sldMk cId="3936673180" sldId="7328"/>
            <ac:picMk id="152" creationId="{0940964C-CD8E-49E3-AD9B-D6C9A6A900BA}"/>
          </ac:picMkLst>
        </pc:picChg>
        <pc:picChg chg="add mod or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160" creationId="{DC94DADD-8C21-42A5-99E7-4D344B1669D4}"/>
          </ac:picMkLst>
        </pc:picChg>
        <pc:picChg chg="add mo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202" creationId="{482E6695-94D4-49FE-BF50-49F8B85A2BE1}"/>
          </ac:picMkLst>
        </pc:picChg>
        <pc:picChg chg="add mo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203" creationId="{E34B4529-B353-4D1C-9748-932D3A5F16A4}"/>
          </ac:picMkLst>
        </pc:picChg>
        <pc:picChg chg="add mo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204" creationId="{7F9A4DF6-1AFC-4090-BA3F-F0E57ACFAE9F}"/>
          </ac:picMkLst>
        </pc:picChg>
        <pc:picChg chg="del">
          <ac:chgData name="ROBERTO ANDRADE MANSUR" userId="10a07775-797c-43e1-ac40-aa24f29d8c96" providerId="ADAL" clId="{BFED318E-DD90-43AD-A84C-0D7CF193F554}" dt="2021-11-17T13:58:06.271" v="59" actId="478"/>
          <ac:picMkLst>
            <pc:docMk/>
            <pc:sldMk cId="3936673180" sldId="7328"/>
            <ac:picMk id="6151" creationId="{247B1C3E-E6C3-4622-B7E6-727E950309BF}"/>
          </ac:picMkLst>
        </pc:picChg>
        <pc:picChg chg="add mod ord">
          <ac:chgData name="ROBERTO ANDRADE MANSUR" userId="10a07775-797c-43e1-ac40-aa24f29d8c96" providerId="ADAL" clId="{BFED318E-DD90-43AD-A84C-0D7CF193F554}" dt="2021-11-17T18:17:04.714" v="2099" actId="164"/>
          <ac:picMkLst>
            <pc:docMk/>
            <pc:sldMk cId="3936673180" sldId="7328"/>
            <ac:picMk id="6158" creationId="{6BBD8E77-8141-4D30-AA6F-797F9E05CAD1}"/>
          </ac:picMkLst>
        </pc:picChg>
        <pc:picChg chg="add mo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6162" creationId="{3B637F87-8A07-498A-8B1C-CBC7DAEBD148}"/>
          </ac:picMkLst>
        </pc:picChg>
        <pc:picChg chg="add mod">
          <ac:chgData name="ROBERTO ANDRADE MANSUR" userId="10a07775-797c-43e1-ac40-aa24f29d8c96" providerId="ADAL" clId="{BFED318E-DD90-43AD-A84C-0D7CF193F554}" dt="2021-11-17T18:41:26.653" v="2744" actId="164"/>
          <ac:picMkLst>
            <pc:docMk/>
            <pc:sldMk cId="3936673180" sldId="7328"/>
            <ac:picMk id="6169" creationId="{404475FA-5BF0-4156-AF90-079C4C47D7C6}"/>
          </ac:picMkLst>
        </pc:picChg>
        <pc:cxnChg chg="del">
          <ac:chgData name="ROBERTO ANDRADE MANSUR" userId="10a07775-797c-43e1-ac40-aa24f29d8c96" providerId="ADAL" clId="{BFED318E-DD90-43AD-A84C-0D7CF193F554}" dt="2021-11-17T13:58:06.271" v="59" actId="478"/>
          <ac:cxnSpMkLst>
            <pc:docMk/>
            <pc:sldMk cId="3936673180" sldId="7328"/>
            <ac:cxnSpMk id="5" creationId="{F7A2D37A-8FFF-48EB-B00C-0F4C0D0A98C5}"/>
          </ac:cxnSpMkLst>
        </pc:cxnChg>
        <pc:cxnChg chg="add mod ord">
          <ac:chgData name="ROBERTO ANDRADE MANSUR" userId="10a07775-797c-43e1-ac40-aa24f29d8c96" providerId="ADAL" clId="{BFED318E-DD90-43AD-A84C-0D7CF193F554}" dt="2021-11-17T18:43:14.492" v="2787" actId="1035"/>
          <ac:cxnSpMkLst>
            <pc:docMk/>
            <pc:sldMk cId="3936673180" sldId="7328"/>
            <ac:cxnSpMk id="12" creationId="{A43C0A3E-A628-4228-AE3D-CAADA531DDAD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20" creationId="{D081BB2B-EB25-47BF-B9A9-51429FA9B750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47" creationId="{07C33E39-D494-4088-9A21-D365611B958D}"/>
          </ac:cxnSpMkLst>
        </pc:cxnChg>
        <pc:cxnChg chg="add del mod">
          <ac:chgData name="ROBERTO ANDRADE MANSUR" userId="10a07775-797c-43e1-ac40-aa24f29d8c96" providerId="ADAL" clId="{BFED318E-DD90-43AD-A84C-0D7CF193F554}" dt="2021-11-17T14:28:19.186" v="1408" actId="478"/>
          <ac:cxnSpMkLst>
            <pc:docMk/>
            <pc:sldMk cId="3936673180" sldId="7328"/>
            <ac:cxnSpMk id="64" creationId="{038F9ADA-04FA-478A-977B-6F32EFAC86D1}"/>
          </ac:cxnSpMkLst>
        </pc:cxnChg>
        <pc:cxnChg chg="add mod ord topLvl">
          <ac:chgData name="ROBERTO ANDRADE MANSUR" userId="10a07775-797c-43e1-ac40-aa24f29d8c96" providerId="ADAL" clId="{BFED318E-DD90-43AD-A84C-0D7CF193F554}" dt="2021-11-17T18:12:54.524" v="1973" actId="164"/>
          <ac:cxnSpMkLst>
            <pc:docMk/>
            <pc:sldMk cId="3936673180" sldId="7328"/>
            <ac:cxnSpMk id="76" creationId="{0596394B-8407-46A5-B85E-4706A2287476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135" creationId="{943A5C11-83EA-4CB8-A3F3-E9C42D03808E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136" creationId="{0E04E27D-CD76-423C-9CCA-54E1746605E6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137" creationId="{445D7714-B1ED-4381-89C0-1D15D424AD5F}"/>
          </ac:cxnSpMkLst>
        </pc:cxnChg>
        <pc:cxnChg chg="add mod">
          <ac:chgData name="ROBERTO ANDRADE MANSUR" userId="10a07775-797c-43e1-ac40-aa24f29d8c96" providerId="ADAL" clId="{BFED318E-DD90-43AD-A84C-0D7CF193F554}" dt="2021-11-17T14:14:53.527" v="917" actId="164"/>
          <ac:cxnSpMkLst>
            <pc:docMk/>
            <pc:sldMk cId="3936673180" sldId="7328"/>
            <ac:cxnSpMk id="138" creationId="{E58BF629-2211-4930-92B3-54D4E1E243C4}"/>
          </ac:cxnSpMkLst>
        </pc:cxnChg>
        <pc:cxnChg chg="add mod ord topLvl">
          <ac:chgData name="ROBERTO ANDRADE MANSUR" userId="10a07775-797c-43e1-ac40-aa24f29d8c96" providerId="ADAL" clId="{BFED318E-DD90-43AD-A84C-0D7CF193F554}" dt="2021-11-17T18:42:12.761" v="2748" actId="164"/>
          <ac:cxnSpMkLst>
            <pc:docMk/>
            <pc:sldMk cId="3936673180" sldId="7328"/>
            <ac:cxnSpMk id="144" creationId="{4F4BEF2A-31E8-44AE-BA75-1EB5F84AC6C0}"/>
          </ac:cxnSpMkLst>
        </pc:cxnChg>
        <pc:cxnChg chg="add mod ord">
          <ac:chgData name="ROBERTO ANDRADE MANSUR" userId="10a07775-797c-43e1-ac40-aa24f29d8c96" providerId="ADAL" clId="{BFED318E-DD90-43AD-A84C-0D7CF193F554}" dt="2021-11-17T18:43:14.492" v="2787" actId="1035"/>
          <ac:cxnSpMkLst>
            <pc:docMk/>
            <pc:sldMk cId="3936673180" sldId="7328"/>
            <ac:cxnSpMk id="146" creationId="{442E4901-3549-401D-8D94-63D833FC4E1C}"/>
          </ac:cxnSpMkLst>
        </pc:cxnChg>
        <pc:cxnChg chg="add del mod">
          <ac:chgData name="ROBERTO ANDRADE MANSUR" userId="10a07775-797c-43e1-ac40-aa24f29d8c96" providerId="ADAL" clId="{BFED318E-DD90-43AD-A84C-0D7CF193F554}" dt="2021-11-17T14:25:04.626" v="1065" actId="478"/>
          <ac:cxnSpMkLst>
            <pc:docMk/>
            <pc:sldMk cId="3936673180" sldId="7328"/>
            <ac:cxnSpMk id="147" creationId="{02143831-F326-4922-8B06-982B6657B573}"/>
          </ac:cxnSpMkLst>
        </pc:cxnChg>
        <pc:cxnChg chg="add mod ord topLvl">
          <ac:chgData name="ROBERTO ANDRADE MANSUR" userId="10a07775-797c-43e1-ac40-aa24f29d8c96" providerId="ADAL" clId="{BFED318E-DD90-43AD-A84C-0D7CF193F554}" dt="2021-11-17T18:12:54.524" v="1973" actId="164"/>
          <ac:cxnSpMkLst>
            <pc:docMk/>
            <pc:sldMk cId="3936673180" sldId="7328"/>
            <ac:cxnSpMk id="155" creationId="{A0C31A5E-4214-44DD-BBDD-D64E59A3E3DA}"/>
          </ac:cxnSpMkLst>
        </pc:cxnChg>
        <pc:cxnChg chg="add mod ord topLvl">
          <ac:chgData name="ROBERTO ANDRADE MANSUR" userId="10a07775-797c-43e1-ac40-aa24f29d8c96" providerId="ADAL" clId="{BFED318E-DD90-43AD-A84C-0D7CF193F554}" dt="2021-11-17T18:12:54.524" v="1973" actId="164"/>
          <ac:cxnSpMkLst>
            <pc:docMk/>
            <pc:sldMk cId="3936673180" sldId="7328"/>
            <ac:cxnSpMk id="156" creationId="{E7C44B4C-A0AE-46B4-8609-1E6495C7E751}"/>
          </ac:cxnSpMkLst>
        </pc:cxnChg>
        <pc:cxnChg chg="add mod or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62" creationId="{491B5F71-85E4-436B-BCF6-1B133824C037}"/>
          </ac:cxnSpMkLst>
        </pc:cxnChg>
        <pc:cxnChg chg="add del mod">
          <ac:chgData name="ROBERTO ANDRADE MANSUR" userId="10a07775-797c-43e1-ac40-aa24f29d8c96" providerId="ADAL" clId="{BFED318E-DD90-43AD-A84C-0D7CF193F554}" dt="2021-11-17T18:13:56.140" v="1987" actId="478"/>
          <ac:cxnSpMkLst>
            <pc:docMk/>
            <pc:sldMk cId="3936673180" sldId="7328"/>
            <ac:cxnSpMk id="166" creationId="{4BCE5600-F00D-428B-8847-EF4145AB1A4A}"/>
          </ac:cxnSpMkLst>
        </pc:cxnChg>
        <pc:cxnChg chg="add mod or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69" creationId="{68A8F0FD-6C71-4184-9BFE-53909F9A92E4}"/>
          </ac:cxnSpMkLst>
        </pc:cxnChg>
        <pc:cxnChg chg="add mod or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70" creationId="{FEFBB485-EDD3-4FDA-97D2-15D3AF633174}"/>
          </ac:cxnSpMkLst>
        </pc:cxnChg>
        <pc:cxnChg chg="add mod or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76" creationId="{35620E67-ADFD-4A40-9452-5161FB5F66EF}"/>
          </ac:cxnSpMkLst>
        </pc:cxnChg>
        <pc:cxnChg chg="add del mod topLvl">
          <ac:chgData name="ROBERTO ANDRADE MANSUR" userId="10a07775-797c-43e1-ac40-aa24f29d8c96" providerId="ADAL" clId="{BFED318E-DD90-43AD-A84C-0D7CF193F554}" dt="2021-11-17T18:21:18.704" v="2159" actId="478"/>
          <ac:cxnSpMkLst>
            <pc:docMk/>
            <pc:sldMk cId="3936673180" sldId="7328"/>
            <ac:cxnSpMk id="184" creationId="{732D4ACE-5F2F-4EE3-BCF9-08CA868C7536}"/>
          </ac:cxnSpMkLst>
        </pc:cxnChg>
        <pc:cxnChg chg="add mod topLvl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85" creationId="{DCE0D95F-D3D3-407F-BE20-02616D607A4E}"/>
          </ac:cxnSpMkLst>
        </pc:cxnChg>
        <pc:cxnChg chg="add del mod topLvl">
          <ac:chgData name="ROBERTO ANDRADE MANSUR" userId="10a07775-797c-43e1-ac40-aa24f29d8c96" providerId="ADAL" clId="{BFED318E-DD90-43AD-A84C-0D7CF193F554}" dt="2021-11-17T18:21:17.456" v="2158" actId="478"/>
          <ac:cxnSpMkLst>
            <pc:docMk/>
            <pc:sldMk cId="3936673180" sldId="7328"/>
            <ac:cxnSpMk id="186" creationId="{1ED15F69-51AD-4BAB-9FA3-44602F35FCDC}"/>
          </ac:cxnSpMkLst>
        </pc:cxnChg>
        <pc:cxnChg chg="add del mod topLvl">
          <ac:chgData name="ROBERTO ANDRADE MANSUR" userId="10a07775-797c-43e1-ac40-aa24f29d8c96" providerId="ADAL" clId="{BFED318E-DD90-43AD-A84C-0D7CF193F554}" dt="2021-11-17T18:21:13.655" v="2154" actId="478"/>
          <ac:cxnSpMkLst>
            <pc:docMk/>
            <pc:sldMk cId="3936673180" sldId="7328"/>
            <ac:cxnSpMk id="187" creationId="{5C51E6A2-AD58-4DD6-8B58-404C77E1EC1E}"/>
          </ac:cxnSpMkLst>
        </pc:cxnChg>
        <pc:cxnChg chg="add mod topLvl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88" creationId="{12136A65-1FAD-4D7B-9892-6D0CD1F93660}"/>
          </ac:cxnSpMkLst>
        </pc:cxnChg>
        <pc:cxnChg chg="add mo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93" creationId="{CFA7B298-C3A6-45AE-97F6-9B1479850116}"/>
          </ac:cxnSpMkLst>
        </pc:cxnChg>
        <pc:cxnChg chg="add mo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96" creationId="{347A1FDD-BC05-4659-A274-C52C84C405AF}"/>
          </ac:cxnSpMkLst>
        </pc:cxnChg>
        <pc:cxnChg chg="add mo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199" creationId="{D6E9B9FB-3ABC-42CC-8D57-C61F1127BB80}"/>
          </ac:cxnSpMkLst>
        </pc:cxnChg>
        <pc:cxnChg chg="add del mod">
          <ac:chgData name="ROBERTO ANDRADE MANSUR" userId="10a07775-797c-43e1-ac40-aa24f29d8c96" providerId="ADAL" clId="{BFED318E-DD90-43AD-A84C-0D7CF193F554}" dt="2021-11-17T18:38:00.488" v="2716" actId="478"/>
          <ac:cxnSpMkLst>
            <pc:docMk/>
            <pc:sldMk cId="3936673180" sldId="7328"/>
            <ac:cxnSpMk id="208" creationId="{1FFEB165-AEBF-4EB6-A712-2E206A2882CB}"/>
          </ac:cxnSpMkLst>
        </pc:cxnChg>
        <pc:cxnChg chg="add mod">
          <ac:chgData name="ROBERTO ANDRADE MANSUR" userId="10a07775-797c-43e1-ac40-aa24f29d8c96" providerId="ADAL" clId="{BFED318E-DD90-43AD-A84C-0D7CF193F554}" dt="2021-11-17T18:41:26.653" v="2744" actId="164"/>
          <ac:cxnSpMkLst>
            <pc:docMk/>
            <pc:sldMk cId="3936673180" sldId="7328"/>
            <ac:cxnSpMk id="209" creationId="{EA0813E5-CDFB-4668-B3C8-C6677500FA78}"/>
          </ac:cxnSpMkLst>
        </pc:cxnChg>
        <pc:cxnChg chg="add mod topLvl">
          <ac:chgData name="ROBERTO ANDRADE MANSUR" userId="10a07775-797c-43e1-ac40-aa24f29d8c96" providerId="ADAL" clId="{BFED318E-DD90-43AD-A84C-0D7CF193F554}" dt="2021-11-17T18:42:12.761" v="2748" actId="164"/>
          <ac:cxnSpMkLst>
            <pc:docMk/>
            <pc:sldMk cId="3936673180" sldId="7328"/>
            <ac:cxnSpMk id="6171" creationId="{119D39F1-F3EA-4CAA-8CB6-B95530487974}"/>
          </ac:cxnSpMkLst>
        </pc:cxnChg>
      </pc:sldChg>
      <pc:sldChg chg="delSp modSp add del modAnim">
        <pc:chgData name="ROBERTO ANDRADE MANSUR" userId="10a07775-797c-43e1-ac40-aa24f29d8c96" providerId="ADAL" clId="{BFED318E-DD90-43AD-A84C-0D7CF193F554}" dt="2021-11-17T19:00:51.202" v="2884" actId="2696"/>
        <pc:sldMkLst>
          <pc:docMk/>
          <pc:sldMk cId="1586691839" sldId="7329"/>
        </pc:sldMkLst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9" creationId="{0568CA45-7249-492C-AA7E-12B1907F703B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14" creationId="{399BE35E-7E94-4B55-884F-89C56FA1427B}"/>
          </ac:spMkLst>
        </pc:spChg>
        <pc:spChg chg="mod">
          <ac:chgData name="ROBERTO ANDRADE MANSUR" userId="10a07775-797c-43e1-ac40-aa24f29d8c96" providerId="ADAL" clId="{BFED318E-DD90-43AD-A84C-0D7CF193F554}" dt="2021-11-17T18:58:19.928" v="2883" actId="20577"/>
          <ac:spMkLst>
            <pc:docMk/>
            <pc:sldMk cId="1586691839" sldId="7329"/>
            <ac:spMk id="85" creationId="{48B6C8B8-36A5-4512-8228-51D5E56D4A14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94" creationId="{BAF3CCD4-386D-4920-A867-377FADBFFBCC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95" creationId="{2CC2EF4D-29CA-42F5-A2D6-2953D22D7B58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96" creationId="{F8FB938E-F39D-4E83-B8D4-E593DA05DCAD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130" creationId="{B26551C4-EC2E-4329-B764-E42908ECF154}"/>
          </ac:spMkLst>
        </pc:spChg>
        <pc:spChg chg="del">
          <ac:chgData name="ROBERTO ANDRADE MANSUR" userId="10a07775-797c-43e1-ac40-aa24f29d8c96" providerId="ADAL" clId="{BFED318E-DD90-43AD-A84C-0D7CF193F554}" dt="2021-11-17T18:57:51.058" v="2817" actId="478"/>
          <ac:spMkLst>
            <pc:docMk/>
            <pc:sldMk cId="1586691839" sldId="7329"/>
            <ac:spMk id="6172" creationId="{D08F57A5-DF0F-4988-A81B-222AF0AD1734}"/>
          </ac:spMkLst>
        </pc:spChg>
        <pc:grpChg chg="del">
          <ac:chgData name="ROBERTO ANDRADE MANSUR" userId="10a07775-797c-43e1-ac40-aa24f29d8c96" providerId="ADAL" clId="{BFED318E-DD90-43AD-A84C-0D7CF193F554}" dt="2021-11-17T18:57:51.058" v="2817" actId="478"/>
          <ac:grpSpMkLst>
            <pc:docMk/>
            <pc:sldMk cId="1586691839" sldId="7329"/>
            <ac:grpSpMk id="6174" creationId="{ADF19BE8-27B2-4209-93F8-2622BB984E6D}"/>
          </ac:grpSpMkLst>
        </pc:grpChg>
        <pc:grpChg chg="del">
          <ac:chgData name="ROBERTO ANDRADE MANSUR" userId="10a07775-797c-43e1-ac40-aa24f29d8c96" providerId="ADAL" clId="{BFED318E-DD90-43AD-A84C-0D7CF193F554}" dt="2021-11-17T18:57:51.058" v="2817" actId="478"/>
          <ac:grpSpMkLst>
            <pc:docMk/>
            <pc:sldMk cId="1586691839" sldId="7329"/>
            <ac:grpSpMk id="6175" creationId="{97F2906D-BFAD-419F-B21C-2D10FBE23481}"/>
          </ac:grpSpMkLst>
        </pc:grpChg>
        <pc:picChg chg="del">
          <ac:chgData name="ROBERTO ANDRADE MANSUR" userId="10a07775-797c-43e1-ac40-aa24f29d8c96" providerId="ADAL" clId="{BFED318E-DD90-43AD-A84C-0D7CF193F554}" dt="2021-11-17T18:57:51.058" v="2817" actId="478"/>
          <ac:picMkLst>
            <pc:docMk/>
            <pc:sldMk cId="1586691839" sldId="7329"/>
            <ac:picMk id="8" creationId="{C51C1A4A-7DAE-4E46-8E09-573FE2B6EED3}"/>
          </ac:picMkLst>
        </pc:picChg>
        <pc:picChg chg="del">
          <ac:chgData name="ROBERTO ANDRADE MANSUR" userId="10a07775-797c-43e1-ac40-aa24f29d8c96" providerId="ADAL" clId="{BFED318E-DD90-43AD-A84C-0D7CF193F554}" dt="2021-11-17T18:57:51.058" v="2817" actId="478"/>
          <ac:picMkLst>
            <pc:docMk/>
            <pc:sldMk cId="1586691839" sldId="7329"/>
            <ac:picMk id="88" creationId="{B058F101-0061-435B-8089-5BC3A6ED18CF}"/>
          </ac:picMkLst>
        </pc:picChg>
        <pc:picChg chg="del">
          <ac:chgData name="ROBERTO ANDRADE MANSUR" userId="10a07775-797c-43e1-ac40-aa24f29d8c96" providerId="ADAL" clId="{BFED318E-DD90-43AD-A84C-0D7CF193F554}" dt="2021-11-17T18:57:51.058" v="2817" actId="478"/>
          <ac:picMkLst>
            <pc:docMk/>
            <pc:sldMk cId="1586691839" sldId="7329"/>
            <ac:picMk id="89" creationId="{D3142AB0-3CAF-49BE-94DA-99AD1D8A7300}"/>
          </ac:picMkLst>
        </pc:picChg>
        <pc:picChg chg="del">
          <ac:chgData name="ROBERTO ANDRADE MANSUR" userId="10a07775-797c-43e1-ac40-aa24f29d8c96" providerId="ADAL" clId="{BFED318E-DD90-43AD-A84C-0D7CF193F554}" dt="2021-11-17T18:57:51.058" v="2817" actId="478"/>
          <ac:picMkLst>
            <pc:docMk/>
            <pc:sldMk cId="1586691839" sldId="7329"/>
            <ac:picMk id="90" creationId="{AECD8150-CCD0-41C6-A4C5-79BD467F55F4}"/>
          </ac:picMkLst>
        </pc:picChg>
        <pc:cxnChg chg="del">
          <ac:chgData name="ROBERTO ANDRADE MANSUR" userId="10a07775-797c-43e1-ac40-aa24f29d8c96" providerId="ADAL" clId="{BFED318E-DD90-43AD-A84C-0D7CF193F554}" dt="2021-11-17T18:57:51.058" v="2817" actId="478"/>
          <ac:cxnSpMkLst>
            <pc:docMk/>
            <pc:sldMk cId="1586691839" sldId="7329"/>
            <ac:cxnSpMk id="12" creationId="{A43C0A3E-A628-4228-AE3D-CAADA531DDAD}"/>
          </ac:cxnSpMkLst>
        </pc:cxnChg>
        <pc:cxnChg chg="del">
          <ac:chgData name="ROBERTO ANDRADE MANSUR" userId="10a07775-797c-43e1-ac40-aa24f29d8c96" providerId="ADAL" clId="{BFED318E-DD90-43AD-A84C-0D7CF193F554}" dt="2021-11-17T18:57:51.058" v="2817" actId="478"/>
          <ac:cxnSpMkLst>
            <pc:docMk/>
            <pc:sldMk cId="1586691839" sldId="7329"/>
            <ac:cxnSpMk id="146" creationId="{442E4901-3549-401D-8D94-63D833FC4E1C}"/>
          </ac:cxnSpMkLst>
        </pc:cxnChg>
      </pc:sldChg>
      <pc:sldChg chg="addSp delSp modSp add delAnim modAnim">
        <pc:chgData name="ROBERTO ANDRADE MANSUR" userId="10a07775-797c-43e1-ac40-aa24f29d8c96" providerId="ADAL" clId="{BFED318E-DD90-43AD-A84C-0D7CF193F554}" dt="2021-11-18T16:59:16.064" v="3963"/>
        <pc:sldMkLst>
          <pc:docMk/>
          <pc:sldMk cId="2005567890" sldId="7446"/>
        </pc:sldMkLst>
        <pc:spChg chg="mod ord">
          <ac:chgData name="ROBERTO ANDRADE MANSUR" userId="10a07775-797c-43e1-ac40-aa24f29d8c96" providerId="ADAL" clId="{BFED318E-DD90-43AD-A84C-0D7CF193F554}" dt="2021-11-17T19:57:14.776" v="3623"/>
          <ac:spMkLst>
            <pc:docMk/>
            <pc:sldMk cId="2005567890" sldId="7446"/>
            <ac:spMk id="2" creationId="{12001AB9-3B51-45AB-9576-0A2296F291CF}"/>
          </ac:spMkLst>
        </pc:spChg>
        <pc:spChg chg="mod ord">
          <ac:chgData name="ROBERTO ANDRADE MANSUR" userId="10a07775-797c-43e1-ac40-aa24f29d8c96" providerId="ADAL" clId="{BFED318E-DD90-43AD-A84C-0D7CF193F554}" dt="2021-11-17T19:57:14.805" v="3625"/>
          <ac:spMkLst>
            <pc:docMk/>
            <pc:sldMk cId="2005567890" sldId="7446"/>
            <ac:spMk id="3" creationId="{6374707E-AEF0-4100-906A-8C3AC31ED3DF}"/>
          </ac:spMkLst>
        </pc:spChg>
        <pc:spChg chg="del">
          <ac:chgData name="ROBERTO ANDRADE MANSUR" userId="10a07775-797c-43e1-ac40-aa24f29d8c96" providerId="ADAL" clId="{BFED318E-DD90-43AD-A84C-0D7CF193F554}" dt="2021-11-17T19:02:54.593" v="2934" actId="478"/>
          <ac:spMkLst>
            <pc:docMk/>
            <pc:sldMk cId="2005567890" sldId="7446"/>
            <ac:spMk id="4" creationId="{6E3AD721-4F98-4DE4-9B9F-D85B37368E9D}"/>
          </ac:spMkLst>
        </pc:spChg>
        <pc:spChg chg="del">
          <ac:chgData name="ROBERTO ANDRADE MANSUR" userId="10a07775-797c-43e1-ac40-aa24f29d8c96" providerId="ADAL" clId="{BFED318E-DD90-43AD-A84C-0D7CF193F554}" dt="2021-11-17T19:02:54.593" v="2934" actId="478"/>
          <ac:spMkLst>
            <pc:docMk/>
            <pc:sldMk cId="2005567890" sldId="7446"/>
            <ac:spMk id="11" creationId="{5CF03720-FE3D-4EBF-AF7A-43EF863CC94E}"/>
          </ac:spMkLst>
        </pc:spChg>
        <pc:spChg chg="add mod ord">
          <ac:chgData name="ROBERTO ANDRADE MANSUR" userId="10a07775-797c-43e1-ac40-aa24f29d8c96" providerId="ADAL" clId="{BFED318E-DD90-43AD-A84C-0D7CF193F554}" dt="2021-11-17T20:00:00.833" v="3711" actId="20577"/>
          <ac:spMkLst>
            <pc:docMk/>
            <pc:sldMk cId="2005567890" sldId="7446"/>
            <ac:spMk id="16" creationId="{8C76B856-5E73-45D6-8581-2D330B27D131}"/>
          </ac:spMkLst>
        </pc:spChg>
        <pc:spChg chg="mod ord">
          <ac:chgData name="ROBERTO ANDRADE MANSUR" userId="10a07775-797c-43e1-ac40-aa24f29d8c96" providerId="ADAL" clId="{BFED318E-DD90-43AD-A84C-0D7CF193F554}" dt="2021-11-17T20:01:15.212" v="3769" actId="1038"/>
          <ac:spMkLst>
            <pc:docMk/>
            <pc:sldMk cId="2005567890" sldId="7446"/>
            <ac:spMk id="18" creationId="{1E5BCA44-2DEE-4782-A9B2-904D57DE2AE7}"/>
          </ac:spMkLst>
        </pc:spChg>
        <pc:spChg chg="del">
          <ac:chgData name="ROBERTO ANDRADE MANSUR" userId="10a07775-797c-43e1-ac40-aa24f29d8c96" providerId="ADAL" clId="{BFED318E-DD90-43AD-A84C-0D7CF193F554}" dt="2021-11-17T19:02:54.593" v="2934" actId="478"/>
          <ac:spMkLst>
            <pc:docMk/>
            <pc:sldMk cId="2005567890" sldId="7446"/>
            <ac:spMk id="23" creationId="{737BAE55-0C88-4660-874D-B8D5856B7D9E}"/>
          </ac:spMkLst>
        </pc:spChg>
        <pc:spChg chg="add mod ord">
          <ac:chgData name="ROBERTO ANDRADE MANSUR" userId="10a07775-797c-43e1-ac40-aa24f29d8c96" providerId="ADAL" clId="{BFED318E-DD90-43AD-A84C-0D7CF193F554}" dt="2021-11-17T19:58:08.694" v="3697" actId="164"/>
          <ac:spMkLst>
            <pc:docMk/>
            <pc:sldMk cId="2005567890" sldId="7446"/>
            <ac:spMk id="34" creationId="{AAE45C25-5CF4-4324-A7CC-78DD93DE366D}"/>
          </ac:spMkLst>
        </pc:spChg>
        <pc:spChg chg="mod ord">
          <ac:chgData name="ROBERTO ANDRADE MANSUR" userId="10a07775-797c-43e1-ac40-aa24f29d8c96" providerId="ADAL" clId="{BFED318E-DD90-43AD-A84C-0D7CF193F554}" dt="2021-11-18T12:05:58.553" v="3939" actId="313"/>
          <ac:spMkLst>
            <pc:docMk/>
            <pc:sldMk cId="2005567890" sldId="7446"/>
            <ac:spMk id="42" creationId="{C71FCEA7-F838-4349-8C52-8D0E0421C7DA}"/>
          </ac:spMkLst>
        </pc:spChg>
        <pc:spChg chg="mod ord">
          <ac:chgData name="ROBERTO ANDRADE MANSUR" userId="10a07775-797c-43e1-ac40-aa24f29d8c96" providerId="ADAL" clId="{BFED318E-DD90-43AD-A84C-0D7CF193F554}" dt="2021-11-17T20:01:15.212" v="3769" actId="1038"/>
          <ac:spMkLst>
            <pc:docMk/>
            <pc:sldMk cId="2005567890" sldId="7446"/>
            <ac:spMk id="43" creationId="{32A9651D-BDE8-461B-95BF-7ADC49F5A84A}"/>
          </ac:spMkLst>
        </pc:spChg>
        <pc:spChg chg="add mod">
          <ac:chgData name="ROBERTO ANDRADE MANSUR" userId="10a07775-797c-43e1-ac40-aa24f29d8c96" providerId="ADAL" clId="{BFED318E-DD90-43AD-A84C-0D7CF193F554}" dt="2021-11-17T19:39:06.341" v="3196" actId="164"/>
          <ac:spMkLst>
            <pc:docMk/>
            <pc:sldMk cId="2005567890" sldId="7446"/>
            <ac:spMk id="45" creationId="{B6A68775-3450-4C9E-9B84-7259BBE13249}"/>
          </ac:spMkLst>
        </pc:spChg>
        <pc:spChg chg="mod ord">
          <ac:chgData name="ROBERTO ANDRADE MANSUR" userId="10a07775-797c-43e1-ac40-aa24f29d8c96" providerId="ADAL" clId="{BFED318E-DD90-43AD-A84C-0D7CF193F554}" dt="2021-11-18T12:05:52.614" v="3937" actId="20577"/>
          <ac:spMkLst>
            <pc:docMk/>
            <pc:sldMk cId="2005567890" sldId="7446"/>
            <ac:spMk id="46" creationId="{481CE88C-E9E7-499D-ABB3-5F3AA68AF1F9}"/>
          </ac:spMkLst>
        </pc:spChg>
        <pc:spChg chg="add mod">
          <ac:chgData name="ROBERTO ANDRADE MANSUR" userId="10a07775-797c-43e1-ac40-aa24f29d8c96" providerId="ADAL" clId="{BFED318E-DD90-43AD-A84C-0D7CF193F554}" dt="2021-11-17T19:39:06.341" v="3196" actId="164"/>
          <ac:spMkLst>
            <pc:docMk/>
            <pc:sldMk cId="2005567890" sldId="7446"/>
            <ac:spMk id="51" creationId="{1F841C73-8DBF-40E0-AE22-D99AF9809D28}"/>
          </ac:spMkLst>
        </pc:spChg>
        <pc:spChg chg="mod ord">
          <ac:chgData name="ROBERTO ANDRADE MANSUR" userId="10a07775-797c-43e1-ac40-aa24f29d8c96" providerId="ADAL" clId="{BFED318E-DD90-43AD-A84C-0D7CF193F554}" dt="2021-11-17T20:01:15.212" v="3769" actId="1038"/>
          <ac:spMkLst>
            <pc:docMk/>
            <pc:sldMk cId="2005567890" sldId="7446"/>
            <ac:spMk id="54" creationId="{FCE4DA37-74F9-4FAD-BAC2-C469AA5FFA3A}"/>
          </ac:spMkLst>
        </pc:spChg>
        <pc:spChg chg="mod ord">
          <ac:chgData name="ROBERTO ANDRADE MANSUR" userId="10a07775-797c-43e1-ac40-aa24f29d8c96" providerId="ADAL" clId="{BFED318E-DD90-43AD-A84C-0D7CF193F554}" dt="2021-11-17T20:01:15.212" v="3769" actId="1038"/>
          <ac:spMkLst>
            <pc:docMk/>
            <pc:sldMk cId="2005567890" sldId="7446"/>
            <ac:spMk id="55" creationId="{763D3C32-667F-4672-A5BF-92F72192C794}"/>
          </ac:spMkLst>
        </pc:spChg>
        <pc:spChg chg="del">
          <ac:chgData name="ROBERTO ANDRADE MANSUR" userId="10a07775-797c-43e1-ac40-aa24f29d8c96" providerId="ADAL" clId="{BFED318E-DD90-43AD-A84C-0D7CF193F554}" dt="2021-11-17T19:02:54.593" v="2934" actId="478"/>
          <ac:spMkLst>
            <pc:docMk/>
            <pc:sldMk cId="2005567890" sldId="7446"/>
            <ac:spMk id="58" creationId="{0F88CB9D-DCDB-4C31-B281-D3639290A412}"/>
          </ac:spMkLst>
        </pc:spChg>
        <pc:spChg chg="add mod">
          <ac:chgData name="ROBERTO ANDRADE MANSUR" userId="10a07775-797c-43e1-ac40-aa24f29d8c96" providerId="ADAL" clId="{BFED318E-DD90-43AD-A84C-0D7CF193F554}" dt="2021-11-17T19:41:07.498" v="3243" actId="164"/>
          <ac:spMkLst>
            <pc:docMk/>
            <pc:sldMk cId="2005567890" sldId="7446"/>
            <ac:spMk id="62" creationId="{66DB9557-0051-48E1-B6E3-D77C3419522D}"/>
          </ac:spMkLst>
        </pc:spChg>
        <pc:spChg chg="add mod">
          <ac:chgData name="ROBERTO ANDRADE MANSUR" userId="10a07775-797c-43e1-ac40-aa24f29d8c96" providerId="ADAL" clId="{BFED318E-DD90-43AD-A84C-0D7CF193F554}" dt="2021-11-17T19:41:07.498" v="3243" actId="164"/>
          <ac:spMkLst>
            <pc:docMk/>
            <pc:sldMk cId="2005567890" sldId="7446"/>
            <ac:spMk id="65" creationId="{8A55B02D-5EC6-4E4C-B05B-0966F9DE924D}"/>
          </ac:spMkLst>
        </pc:spChg>
        <pc:spChg chg="del mod">
          <ac:chgData name="ROBERTO ANDRADE MANSUR" userId="10a07775-797c-43e1-ac40-aa24f29d8c96" providerId="ADAL" clId="{BFED318E-DD90-43AD-A84C-0D7CF193F554}" dt="2021-11-17T19:37:58.024" v="3176" actId="478"/>
          <ac:spMkLst>
            <pc:docMk/>
            <pc:sldMk cId="2005567890" sldId="7446"/>
            <ac:spMk id="68" creationId="{DC728979-6EC1-4780-86AA-E25379119A4C}"/>
          </ac:spMkLst>
        </pc:spChg>
        <pc:spChg chg="add mod ord">
          <ac:chgData name="ROBERTO ANDRADE MANSUR" userId="10a07775-797c-43e1-ac40-aa24f29d8c96" providerId="ADAL" clId="{BFED318E-DD90-43AD-A84C-0D7CF193F554}" dt="2021-11-17T20:05:38.018" v="3776" actId="1036"/>
          <ac:spMkLst>
            <pc:docMk/>
            <pc:sldMk cId="2005567890" sldId="7446"/>
            <ac:spMk id="81" creationId="{15D26A34-D2C8-40CC-97B2-18DC6C269C2F}"/>
          </ac:spMkLst>
        </pc:spChg>
        <pc:spChg chg="add mod ord">
          <ac:chgData name="ROBERTO ANDRADE MANSUR" userId="10a07775-797c-43e1-ac40-aa24f29d8c96" providerId="ADAL" clId="{BFED318E-DD90-43AD-A84C-0D7CF193F554}" dt="2021-11-17T20:05:38.018" v="3776" actId="1036"/>
          <ac:spMkLst>
            <pc:docMk/>
            <pc:sldMk cId="2005567890" sldId="7446"/>
            <ac:spMk id="82" creationId="{5708056D-3400-4EAB-8CAD-955CF26D7FBB}"/>
          </ac:spMkLst>
        </pc:spChg>
        <pc:spChg chg="add mod ord">
          <ac:chgData name="ROBERTO ANDRADE MANSUR" userId="10a07775-797c-43e1-ac40-aa24f29d8c96" providerId="ADAL" clId="{BFED318E-DD90-43AD-A84C-0D7CF193F554}" dt="2021-11-17T19:58:08.694" v="3697" actId="164"/>
          <ac:spMkLst>
            <pc:docMk/>
            <pc:sldMk cId="2005567890" sldId="7446"/>
            <ac:spMk id="84" creationId="{31C1BC50-75E1-473D-B399-1F49771CF61C}"/>
          </ac:spMkLst>
        </pc:spChg>
        <pc:spChg chg="add mod ord">
          <ac:chgData name="ROBERTO ANDRADE MANSUR" userId="10a07775-797c-43e1-ac40-aa24f29d8c96" providerId="ADAL" clId="{BFED318E-DD90-43AD-A84C-0D7CF193F554}" dt="2021-11-18T16:59:13.311" v="3962" actId="164"/>
          <ac:spMkLst>
            <pc:docMk/>
            <pc:sldMk cId="2005567890" sldId="7446"/>
            <ac:spMk id="89" creationId="{430EFE9E-77DE-409D-8366-B8068A33192C}"/>
          </ac:spMkLst>
        </pc:spChg>
        <pc:spChg chg="add mod ord">
          <ac:chgData name="ROBERTO ANDRADE MANSUR" userId="10a07775-797c-43e1-ac40-aa24f29d8c96" providerId="ADAL" clId="{BFED318E-DD90-43AD-A84C-0D7CF193F554}" dt="2021-11-18T16:59:13.311" v="3962" actId="164"/>
          <ac:spMkLst>
            <pc:docMk/>
            <pc:sldMk cId="2005567890" sldId="7446"/>
            <ac:spMk id="90" creationId="{62DF72E7-E134-4869-BB1D-441DCED256E6}"/>
          </ac:spMkLst>
        </pc:spChg>
        <pc:spChg chg="add mod ord">
          <ac:chgData name="ROBERTO ANDRADE MANSUR" userId="10a07775-797c-43e1-ac40-aa24f29d8c96" providerId="ADAL" clId="{BFED318E-DD90-43AD-A84C-0D7CF193F554}" dt="2021-11-18T16:59:13.311" v="3962" actId="164"/>
          <ac:spMkLst>
            <pc:docMk/>
            <pc:sldMk cId="2005567890" sldId="7446"/>
            <ac:spMk id="91" creationId="{EF9B19F5-2BC7-4CAD-8F8B-7236C584FF5E}"/>
          </ac:spMkLst>
        </pc:spChg>
        <pc:spChg chg="add mod ord">
          <ac:chgData name="ROBERTO ANDRADE MANSUR" userId="10a07775-797c-43e1-ac40-aa24f29d8c96" providerId="ADAL" clId="{BFED318E-DD90-43AD-A84C-0D7CF193F554}" dt="2021-11-18T16:59:13.311" v="3962" actId="164"/>
          <ac:spMkLst>
            <pc:docMk/>
            <pc:sldMk cId="2005567890" sldId="7446"/>
            <ac:spMk id="103" creationId="{46EFDC9E-3270-488F-9CC6-65D0D6864BB0}"/>
          </ac:spMkLst>
        </pc:spChg>
        <pc:spChg chg="add mod">
          <ac:chgData name="ROBERTO ANDRADE MANSUR" userId="10a07775-797c-43e1-ac40-aa24f29d8c96" providerId="ADAL" clId="{BFED318E-DD90-43AD-A84C-0D7CF193F554}" dt="2021-11-17T20:01:15.212" v="3769" actId="1038"/>
          <ac:spMkLst>
            <pc:docMk/>
            <pc:sldMk cId="2005567890" sldId="7446"/>
            <ac:spMk id="107" creationId="{E53168DA-3074-4150-9B85-1015EB3B4EDF}"/>
          </ac:spMkLst>
        </pc:spChg>
        <pc:grpChg chg="add del mod">
          <ac:chgData name="ROBERTO ANDRADE MANSUR" userId="10a07775-797c-43e1-ac40-aa24f29d8c96" providerId="ADAL" clId="{BFED318E-DD90-43AD-A84C-0D7CF193F554}" dt="2021-11-17T19:39:45.655" v="3218" actId="478"/>
          <ac:grpSpMkLst>
            <pc:docMk/>
            <pc:sldMk cId="2005567890" sldId="7446"/>
            <ac:grpSpMk id="5" creationId="{363EF2DD-7665-48CA-8A3E-53C0C180B477}"/>
          </ac:grpSpMkLst>
        </pc:grpChg>
        <pc:grpChg chg="add mod ord">
          <ac:chgData name="ROBERTO ANDRADE MANSUR" userId="10a07775-797c-43e1-ac40-aa24f29d8c96" providerId="ADAL" clId="{BFED318E-DD90-43AD-A84C-0D7CF193F554}" dt="2021-11-17T20:01:15.212" v="3769" actId="1038"/>
          <ac:grpSpMkLst>
            <pc:docMk/>
            <pc:sldMk cId="2005567890" sldId="7446"/>
            <ac:grpSpMk id="8" creationId="{0983B580-124C-46EA-8689-3CE8B3CF91FC}"/>
          </ac:grpSpMkLst>
        </pc:grpChg>
        <pc:grpChg chg="add mod">
          <ac:chgData name="ROBERTO ANDRADE MANSUR" userId="10a07775-797c-43e1-ac40-aa24f29d8c96" providerId="ADAL" clId="{BFED318E-DD90-43AD-A84C-0D7CF193F554}" dt="2021-11-17T19:54:28.889" v="3566" actId="164"/>
          <ac:grpSpMkLst>
            <pc:docMk/>
            <pc:sldMk cId="2005567890" sldId="7446"/>
            <ac:grpSpMk id="17" creationId="{6AC0C636-F34C-41F5-81FC-94624724D055}"/>
          </ac:grpSpMkLst>
        </pc:grpChg>
        <pc:grpChg chg="add mod ord">
          <ac:chgData name="ROBERTO ANDRADE MANSUR" userId="10a07775-797c-43e1-ac40-aa24f29d8c96" providerId="ADAL" clId="{BFED318E-DD90-43AD-A84C-0D7CF193F554}" dt="2021-11-17T20:01:15.212" v="3769" actId="1038"/>
          <ac:grpSpMkLst>
            <pc:docMk/>
            <pc:sldMk cId="2005567890" sldId="7446"/>
            <ac:grpSpMk id="20" creationId="{B926AC58-B5A3-4673-8811-22DC6C7CA3A5}"/>
          </ac:grpSpMkLst>
        </pc:grpChg>
        <pc:grpChg chg="del">
          <ac:chgData name="ROBERTO ANDRADE MANSUR" userId="10a07775-797c-43e1-ac40-aa24f29d8c96" providerId="ADAL" clId="{BFED318E-DD90-43AD-A84C-0D7CF193F554}" dt="2021-11-17T19:02:54.593" v="2934" actId="478"/>
          <ac:grpSpMkLst>
            <pc:docMk/>
            <pc:sldMk cId="2005567890" sldId="7446"/>
            <ac:grpSpMk id="29" creationId="{576DDC05-EF8C-435A-B348-A453D1AE24F7}"/>
          </ac:grpSpMkLst>
        </pc:grpChg>
        <pc:grpChg chg="add mod">
          <ac:chgData name="ROBERTO ANDRADE MANSUR" userId="10a07775-797c-43e1-ac40-aa24f29d8c96" providerId="ADAL" clId="{BFED318E-DD90-43AD-A84C-0D7CF193F554}" dt="2021-11-18T16:59:13.311" v="3962" actId="164"/>
          <ac:grpSpMkLst>
            <pc:docMk/>
            <pc:sldMk cId="2005567890" sldId="7446"/>
            <ac:grpSpMk id="35" creationId="{11FCDD2F-CBAA-466C-8D27-355E034243B9}"/>
          </ac:grpSpMkLst>
        </pc:grpChg>
        <pc:grpChg chg="del">
          <ac:chgData name="ROBERTO ANDRADE MANSUR" userId="10a07775-797c-43e1-ac40-aa24f29d8c96" providerId="ADAL" clId="{BFED318E-DD90-43AD-A84C-0D7CF193F554}" dt="2021-11-17T19:02:54.593" v="2934" actId="478"/>
          <ac:grpSpMkLst>
            <pc:docMk/>
            <pc:sldMk cId="2005567890" sldId="7446"/>
            <ac:grpSpMk id="38" creationId="{AB52A29E-9A70-4278-A9D5-2C1B0515F06D}"/>
          </ac:grpSpMkLst>
        </pc:grpChg>
        <pc:grpChg chg="add del mod">
          <ac:chgData name="ROBERTO ANDRADE MANSUR" userId="10a07775-797c-43e1-ac40-aa24f29d8c96" providerId="ADAL" clId="{BFED318E-DD90-43AD-A84C-0D7CF193F554}" dt="2021-11-17T19:39:38.417" v="3215" actId="478"/>
          <ac:grpSpMkLst>
            <pc:docMk/>
            <pc:sldMk cId="2005567890" sldId="7446"/>
            <ac:grpSpMk id="52" creationId="{0AA3EAB8-66BF-4258-9FFD-F84445E66067}"/>
          </ac:grpSpMkLst>
        </pc:grpChg>
        <pc:grpChg chg="add del mod">
          <ac:chgData name="ROBERTO ANDRADE MANSUR" userId="10a07775-797c-43e1-ac40-aa24f29d8c96" providerId="ADAL" clId="{BFED318E-DD90-43AD-A84C-0D7CF193F554}" dt="2021-11-17T19:39:38.417" v="3215" actId="478"/>
          <ac:grpSpMkLst>
            <pc:docMk/>
            <pc:sldMk cId="2005567890" sldId="7446"/>
            <ac:grpSpMk id="57" creationId="{48EB7D61-A521-4678-B4A8-6A8833105284}"/>
          </ac:grpSpMkLst>
        </pc:grpChg>
        <pc:grpChg chg="del mod">
          <ac:chgData name="ROBERTO ANDRADE MANSUR" userId="10a07775-797c-43e1-ac40-aa24f29d8c96" providerId="ADAL" clId="{BFED318E-DD90-43AD-A84C-0D7CF193F554}" dt="2021-11-17T19:36:34.329" v="2957" actId="478"/>
          <ac:grpSpMkLst>
            <pc:docMk/>
            <pc:sldMk cId="2005567890" sldId="7446"/>
            <ac:grpSpMk id="63" creationId="{9572E512-997E-4159-ADB5-A448930E0AE2}"/>
          </ac:grpSpMkLst>
        </pc:grpChg>
        <pc:grpChg chg="add del mod">
          <ac:chgData name="ROBERTO ANDRADE MANSUR" userId="10a07775-797c-43e1-ac40-aa24f29d8c96" providerId="ADAL" clId="{BFED318E-DD90-43AD-A84C-0D7CF193F554}" dt="2021-11-17T19:45:08.535" v="3307" actId="478"/>
          <ac:grpSpMkLst>
            <pc:docMk/>
            <pc:sldMk cId="2005567890" sldId="7446"/>
            <ac:grpSpMk id="72" creationId="{A1B0F02D-9ED1-4746-9A76-4C9C82062D7E}"/>
          </ac:grpSpMkLst>
        </pc:grpChg>
        <pc:grpChg chg="add del mod">
          <ac:chgData name="ROBERTO ANDRADE MANSUR" userId="10a07775-797c-43e1-ac40-aa24f29d8c96" providerId="ADAL" clId="{BFED318E-DD90-43AD-A84C-0D7CF193F554}" dt="2021-11-17T19:45:07.535" v="3306" actId="478"/>
          <ac:grpSpMkLst>
            <pc:docMk/>
            <pc:sldMk cId="2005567890" sldId="7446"/>
            <ac:grpSpMk id="75" creationId="{3C28777A-D58F-4B10-BD25-30A4E6A3B94C}"/>
          </ac:grpSpMkLst>
        </pc:grpChg>
        <pc:grpChg chg="add del mod">
          <ac:chgData name="ROBERTO ANDRADE MANSUR" userId="10a07775-797c-43e1-ac40-aa24f29d8c96" providerId="ADAL" clId="{BFED318E-DD90-43AD-A84C-0D7CF193F554}" dt="2021-11-17T19:54:28.202" v="3565"/>
          <ac:grpSpMkLst>
            <pc:docMk/>
            <pc:sldMk cId="2005567890" sldId="7446"/>
            <ac:grpSpMk id="92" creationId="{72903603-F042-43AA-A855-8CA0C90EB8DB}"/>
          </ac:grpSpMkLst>
        </pc:grpChg>
        <pc:grpChg chg="add mod ord">
          <ac:chgData name="ROBERTO ANDRADE MANSUR" userId="10a07775-797c-43e1-ac40-aa24f29d8c96" providerId="ADAL" clId="{BFED318E-DD90-43AD-A84C-0D7CF193F554}" dt="2021-11-18T16:59:13.311" v="3962" actId="164"/>
          <ac:grpSpMkLst>
            <pc:docMk/>
            <pc:sldMk cId="2005567890" sldId="7446"/>
            <ac:grpSpMk id="97" creationId="{780D79F0-4B78-460D-B84B-A1A8C02341B1}"/>
          </ac:grpSpMkLst>
        </pc:grpChg>
        <pc:grpChg chg="add del mod">
          <ac:chgData name="ROBERTO ANDRADE MANSUR" userId="10a07775-797c-43e1-ac40-aa24f29d8c96" providerId="ADAL" clId="{BFED318E-DD90-43AD-A84C-0D7CF193F554}" dt="2021-11-17T20:01:44.481" v="3772" actId="478"/>
          <ac:grpSpMkLst>
            <pc:docMk/>
            <pc:sldMk cId="2005567890" sldId="7446"/>
            <ac:grpSpMk id="108" creationId="{E0EDFD08-2D2B-4496-8746-83B438A5F012}"/>
          </ac:grpSpMkLst>
        </pc:grpChg>
        <pc:grpChg chg="add mod">
          <ac:chgData name="ROBERTO ANDRADE MANSUR" userId="10a07775-797c-43e1-ac40-aa24f29d8c96" providerId="ADAL" clId="{BFED318E-DD90-43AD-A84C-0D7CF193F554}" dt="2021-11-18T16:59:13.311" v="3962" actId="164"/>
          <ac:grpSpMkLst>
            <pc:docMk/>
            <pc:sldMk cId="2005567890" sldId="7446"/>
            <ac:grpSpMk id="111" creationId="{BFAFD550-EF73-43B7-9388-81F9FE0F8F60}"/>
          </ac:grpSpMkLst>
        </pc:grpChg>
        <pc:graphicFrameChg chg="mod">
          <ac:chgData name="ROBERTO ANDRADE MANSUR" userId="10a07775-797c-43e1-ac40-aa24f29d8c96" providerId="ADAL" clId="{BFED318E-DD90-43AD-A84C-0D7CF193F554}" dt="2021-11-17T19:57:14.864" v="3689"/>
          <ac:graphicFrameMkLst>
            <pc:docMk/>
            <pc:sldMk cId="2005567890" sldId="7446"/>
            <ac:graphicFrameMk id="32" creationId="{07F9CD99-7C74-4B69-ACB7-536AB9DC09BA}"/>
          </ac:graphicFrameMkLst>
        </pc:graphicFrameChg>
        <pc:picChg chg="del">
          <ac:chgData name="ROBERTO ANDRADE MANSUR" userId="10a07775-797c-43e1-ac40-aa24f29d8c96" providerId="ADAL" clId="{BFED318E-DD90-43AD-A84C-0D7CF193F554}" dt="2021-11-17T19:02:54.593" v="2934" actId="478"/>
          <ac:picMkLst>
            <pc:docMk/>
            <pc:sldMk cId="2005567890" sldId="7446"/>
            <ac:picMk id="19" creationId="{65587726-2B46-424B-BB2A-F9BB6A326981}"/>
          </ac:picMkLst>
        </pc:picChg>
        <pc:picChg chg="del">
          <ac:chgData name="ROBERTO ANDRADE MANSUR" userId="10a07775-797c-43e1-ac40-aa24f29d8c96" providerId="ADAL" clId="{BFED318E-DD90-43AD-A84C-0D7CF193F554}" dt="2021-11-17T19:02:54.593" v="2934" actId="478"/>
          <ac:picMkLst>
            <pc:docMk/>
            <pc:sldMk cId="2005567890" sldId="7446"/>
            <ac:picMk id="22" creationId="{623262BE-0D12-4512-A22B-82C4AB2A2BED}"/>
          </ac:picMkLst>
        </pc:picChg>
        <pc:picChg chg="del">
          <ac:chgData name="ROBERTO ANDRADE MANSUR" userId="10a07775-797c-43e1-ac40-aa24f29d8c96" providerId="ADAL" clId="{BFED318E-DD90-43AD-A84C-0D7CF193F554}" dt="2021-11-17T19:02:54.593" v="2934" actId="478"/>
          <ac:picMkLst>
            <pc:docMk/>
            <pc:sldMk cId="2005567890" sldId="7446"/>
            <ac:picMk id="25" creationId="{747D8A85-AD2E-4A94-8FBE-1157E1F3E152}"/>
          </ac:picMkLst>
        </pc:picChg>
        <pc:picChg chg="del">
          <ac:chgData name="ROBERTO ANDRADE MANSUR" userId="10a07775-797c-43e1-ac40-aa24f29d8c96" providerId="ADAL" clId="{BFED318E-DD90-43AD-A84C-0D7CF193F554}" dt="2021-11-17T19:02:54.593" v="2934" actId="478"/>
          <ac:picMkLst>
            <pc:docMk/>
            <pc:sldMk cId="2005567890" sldId="7446"/>
            <ac:picMk id="26" creationId="{E1B3599C-FD34-4581-950A-199A359530AC}"/>
          </ac:picMkLst>
        </pc:picChg>
        <pc:picChg chg="mod ord">
          <ac:chgData name="ROBERTO ANDRADE MANSUR" userId="10a07775-797c-43e1-ac40-aa24f29d8c96" providerId="ADAL" clId="{BFED318E-DD90-43AD-A84C-0D7CF193F554}" dt="2021-11-17T20:01:15.212" v="3769" actId="1038"/>
          <ac:picMkLst>
            <pc:docMk/>
            <pc:sldMk cId="2005567890" sldId="7446"/>
            <ac:picMk id="41" creationId="{1D32B0EC-0AB1-489D-BF57-B9D9BC398EBF}"/>
          </ac:picMkLst>
        </pc:picChg>
        <pc:picChg chg="add mod ord">
          <ac:chgData name="ROBERTO ANDRADE MANSUR" userId="10a07775-797c-43e1-ac40-aa24f29d8c96" providerId="ADAL" clId="{BFED318E-DD90-43AD-A84C-0D7CF193F554}" dt="2021-11-17T20:05:38.018" v="3776" actId="1036"/>
          <ac:picMkLst>
            <pc:docMk/>
            <pc:sldMk cId="2005567890" sldId="7446"/>
            <ac:picMk id="44" creationId="{B12CBBEF-B8D4-4FE8-BE05-DF8209C97E06}"/>
          </ac:picMkLst>
        </pc:picChg>
        <pc:picChg chg="mod ord">
          <ac:chgData name="ROBERTO ANDRADE MANSUR" userId="10a07775-797c-43e1-ac40-aa24f29d8c96" providerId="ADAL" clId="{BFED318E-DD90-43AD-A84C-0D7CF193F554}" dt="2021-11-17T20:01:15.212" v="3769" actId="1038"/>
          <ac:picMkLst>
            <pc:docMk/>
            <pc:sldMk cId="2005567890" sldId="7446"/>
            <ac:picMk id="47" creationId="{0DC167D6-5537-4F6D-8705-DEFD058C915C}"/>
          </ac:picMkLst>
        </pc:picChg>
        <pc:picChg chg="mod ord">
          <ac:chgData name="ROBERTO ANDRADE MANSUR" userId="10a07775-797c-43e1-ac40-aa24f29d8c96" providerId="ADAL" clId="{BFED318E-DD90-43AD-A84C-0D7CF193F554}" dt="2021-11-17T20:01:15.212" v="3769" actId="1038"/>
          <ac:picMkLst>
            <pc:docMk/>
            <pc:sldMk cId="2005567890" sldId="7446"/>
            <ac:picMk id="48" creationId="{A5A1DD12-8E94-4DCC-B94D-DB968F235837}"/>
          </ac:picMkLst>
        </pc:picChg>
        <pc:picChg chg="mod ord">
          <ac:chgData name="ROBERTO ANDRADE MANSUR" userId="10a07775-797c-43e1-ac40-aa24f29d8c96" providerId="ADAL" clId="{BFED318E-DD90-43AD-A84C-0D7CF193F554}" dt="2021-11-17T20:01:15.212" v="3769" actId="1038"/>
          <ac:picMkLst>
            <pc:docMk/>
            <pc:sldMk cId="2005567890" sldId="7446"/>
            <ac:picMk id="49" creationId="{FCC51880-28CD-4425-BBC8-E218BE9C4508}"/>
          </ac:picMkLst>
        </pc:picChg>
        <pc:picChg chg="add mod ord">
          <ac:chgData name="ROBERTO ANDRADE MANSUR" userId="10a07775-797c-43e1-ac40-aa24f29d8c96" providerId="ADAL" clId="{BFED318E-DD90-43AD-A84C-0D7CF193F554}" dt="2021-11-17T20:05:38.018" v="3776" actId="1036"/>
          <ac:picMkLst>
            <pc:docMk/>
            <pc:sldMk cId="2005567890" sldId="7446"/>
            <ac:picMk id="78" creationId="{D2575E7D-0100-4BCA-BA12-A0D10A51293C}"/>
          </ac:picMkLst>
        </pc:picChg>
        <pc:picChg chg="add mod ord">
          <ac:chgData name="ROBERTO ANDRADE MANSUR" userId="10a07775-797c-43e1-ac40-aa24f29d8c96" providerId="ADAL" clId="{BFED318E-DD90-43AD-A84C-0D7CF193F554}" dt="2021-11-17T19:58:08.694" v="3697" actId="164"/>
          <ac:picMkLst>
            <pc:docMk/>
            <pc:sldMk cId="2005567890" sldId="7446"/>
            <ac:picMk id="79" creationId="{4796A7B5-FFD8-4A6C-BA18-47C01F520161}"/>
          </ac:picMkLst>
        </pc:picChg>
        <pc:picChg chg="add del">
          <ac:chgData name="ROBERTO ANDRADE MANSUR" userId="10a07775-797c-43e1-ac40-aa24f29d8c96" providerId="ADAL" clId="{BFED318E-DD90-43AD-A84C-0D7CF193F554}" dt="2021-11-17T19:52:20.879" v="3535" actId="478"/>
          <ac:picMkLst>
            <pc:docMk/>
            <pc:sldMk cId="2005567890" sldId="7446"/>
            <ac:picMk id="85" creationId="{6B07145A-1ABF-4AB9-8CFD-B364800592B2}"/>
          </ac:picMkLst>
        </pc:picChg>
        <pc:picChg chg="add mod ord">
          <ac:chgData name="ROBERTO ANDRADE MANSUR" userId="10a07775-797c-43e1-ac40-aa24f29d8c96" providerId="ADAL" clId="{BFED318E-DD90-43AD-A84C-0D7CF193F554}" dt="2021-11-18T16:59:13.311" v="3962" actId="164"/>
          <ac:picMkLst>
            <pc:docMk/>
            <pc:sldMk cId="2005567890" sldId="7446"/>
            <ac:picMk id="86" creationId="{315FC43F-C2F7-40B6-8109-1E1337477474}"/>
          </ac:picMkLst>
        </pc:picChg>
        <pc:picChg chg="add mod ord">
          <ac:chgData name="ROBERTO ANDRADE MANSUR" userId="10a07775-797c-43e1-ac40-aa24f29d8c96" providerId="ADAL" clId="{BFED318E-DD90-43AD-A84C-0D7CF193F554}" dt="2021-11-18T16:59:13.311" v="3962" actId="164"/>
          <ac:picMkLst>
            <pc:docMk/>
            <pc:sldMk cId="2005567890" sldId="7446"/>
            <ac:picMk id="87" creationId="{D01C6FA3-95FC-4004-B24F-CBC868CD2BB2}"/>
          </ac:picMkLst>
        </pc:picChg>
        <pc:picChg chg="add mod ord">
          <ac:chgData name="ROBERTO ANDRADE MANSUR" userId="10a07775-797c-43e1-ac40-aa24f29d8c96" providerId="ADAL" clId="{BFED318E-DD90-43AD-A84C-0D7CF193F554}" dt="2021-11-18T16:59:13.311" v="3962" actId="164"/>
          <ac:picMkLst>
            <pc:docMk/>
            <pc:sldMk cId="2005567890" sldId="7446"/>
            <ac:picMk id="88" creationId="{3100F546-90A9-465E-87F3-DAF7F732FA11}"/>
          </ac:picMkLst>
        </pc:picChg>
        <pc:cxnChg chg="del">
          <ac:chgData name="ROBERTO ANDRADE MANSUR" userId="10a07775-797c-43e1-ac40-aa24f29d8c96" providerId="ADAL" clId="{BFED318E-DD90-43AD-A84C-0D7CF193F554}" dt="2021-11-17T19:02:54.593" v="2934" actId="478"/>
          <ac:cxnSpMkLst>
            <pc:docMk/>
            <pc:sldMk cId="2005567890" sldId="7446"/>
            <ac:cxnSpMk id="6" creationId="{776E32C3-E61A-4321-A532-5F94836697B3}"/>
          </ac:cxnSpMkLst>
        </pc:cxnChg>
        <pc:cxnChg chg="add mod">
          <ac:chgData name="ROBERTO ANDRADE MANSUR" userId="10a07775-797c-43e1-ac40-aa24f29d8c96" providerId="ADAL" clId="{BFED318E-DD90-43AD-A84C-0D7CF193F554}" dt="2021-11-17T19:54:34.345" v="3567" actId="164"/>
          <ac:cxnSpMkLst>
            <pc:docMk/>
            <pc:sldMk cId="2005567890" sldId="7446"/>
            <ac:cxnSpMk id="13" creationId="{28FEB477-F0E5-4055-8E24-7B3B98D482E9}"/>
          </ac:cxnSpMkLst>
        </pc:cxnChg>
        <pc:cxnChg chg="mod ord">
          <ac:chgData name="ROBERTO ANDRADE MANSUR" userId="10a07775-797c-43e1-ac40-aa24f29d8c96" providerId="ADAL" clId="{BFED318E-DD90-43AD-A84C-0D7CF193F554}" dt="2021-11-17T20:09:09.595" v="3836" actId="1037"/>
          <ac:cxnSpMkLst>
            <pc:docMk/>
            <pc:sldMk cId="2005567890" sldId="7446"/>
            <ac:cxnSpMk id="14" creationId="{C9FD7147-5DA0-41FB-A5DE-2DAB74D86C52}"/>
          </ac:cxnSpMkLst>
        </pc:cxnChg>
        <pc:cxnChg chg="add mod ord">
          <ac:chgData name="ROBERTO ANDRADE MANSUR" userId="10a07775-797c-43e1-ac40-aa24f29d8c96" providerId="ADAL" clId="{BFED318E-DD90-43AD-A84C-0D7CF193F554}" dt="2021-11-17T20:01:15.212" v="3769" actId="1038"/>
          <ac:cxnSpMkLst>
            <pc:docMk/>
            <pc:sldMk cId="2005567890" sldId="7446"/>
            <ac:cxnSpMk id="24" creationId="{C7D61C94-5CA8-4B7B-B0CD-6BB7FB4045B4}"/>
          </ac:cxnSpMkLst>
        </pc:cxnChg>
        <pc:cxnChg chg="del">
          <ac:chgData name="ROBERTO ANDRADE MANSUR" userId="10a07775-797c-43e1-ac40-aa24f29d8c96" providerId="ADAL" clId="{BFED318E-DD90-43AD-A84C-0D7CF193F554}" dt="2021-11-17T19:02:54.593" v="2934" actId="478"/>
          <ac:cxnSpMkLst>
            <pc:docMk/>
            <pc:sldMk cId="2005567890" sldId="7446"/>
            <ac:cxnSpMk id="28" creationId="{ABC621F8-56C9-444A-B97E-401043E2B3E5}"/>
          </ac:cxnSpMkLst>
        </pc:cxnChg>
        <pc:cxnChg chg="del">
          <ac:chgData name="ROBERTO ANDRADE MANSUR" userId="10a07775-797c-43e1-ac40-aa24f29d8c96" providerId="ADAL" clId="{BFED318E-DD90-43AD-A84C-0D7CF193F554}" dt="2021-11-17T19:02:54.593" v="2934" actId="478"/>
          <ac:cxnSpMkLst>
            <pc:docMk/>
            <pc:sldMk cId="2005567890" sldId="7446"/>
            <ac:cxnSpMk id="33" creationId="{89D6EC51-D16D-4579-A5AF-6339781AE300}"/>
          </ac:cxnSpMkLst>
        </pc:cxnChg>
        <pc:cxnChg chg="del">
          <ac:chgData name="ROBERTO ANDRADE MANSUR" userId="10a07775-797c-43e1-ac40-aa24f29d8c96" providerId="ADAL" clId="{BFED318E-DD90-43AD-A84C-0D7CF193F554}" dt="2021-11-17T19:02:54.593" v="2934" actId="478"/>
          <ac:cxnSpMkLst>
            <pc:docMk/>
            <pc:sldMk cId="2005567890" sldId="7446"/>
            <ac:cxnSpMk id="37" creationId="{14D2E130-F318-4466-8E5A-A194E66D4620}"/>
          </ac:cxnSpMkLst>
        </pc:cxnChg>
        <pc:cxnChg chg="mod ord">
          <ac:chgData name="ROBERTO ANDRADE MANSUR" userId="10a07775-797c-43e1-ac40-aa24f29d8c96" providerId="ADAL" clId="{BFED318E-DD90-43AD-A84C-0D7CF193F554}" dt="2021-11-17T20:01:15.212" v="3769" actId="1038"/>
          <ac:cxnSpMkLst>
            <pc:docMk/>
            <pc:sldMk cId="2005567890" sldId="7446"/>
            <ac:cxnSpMk id="50" creationId="{CFA2F32F-A063-41FA-9351-A9EB170054C8}"/>
          </ac:cxnSpMkLst>
        </pc:cxnChg>
        <pc:cxnChg chg="add mod">
          <ac:chgData name="ROBERTO ANDRADE MANSUR" userId="10a07775-797c-43e1-ac40-aa24f29d8c96" providerId="ADAL" clId="{BFED318E-DD90-43AD-A84C-0D7CF193F554}" dt="2021-11-17T19:54:34.345" v="3567" actId="164"/>
          <ac:cxnSpMkLst>
            <pc:docMk/>
            <pc:sldMk cId="2005567890" sldId="7446"/>
            <ac:cxnSpMk id="67" creationId="{FAC2F6E6-6F26-4D56-88EC-F2E728E8CCEC}"/>
          </ac:cxnSpMkLst>
        </pc:cxnChg>
        <pc:cxnChg chg="add mod">
          <ac:chgData name="ROBERTO ANDRADE MANSUR" userId="10a07775-797c-43e1-ac40-aa24f29d8c96" providerId="ADAL" clId="{BFED318E-DD90-43AD-A84C-0D7CF193F554}" dt="2021-11-17T19:54:34.345" v="3567" actId="164"/>
          <ac:cxnSpMkLst>
            <pc:docMk/>
            <pc:sldMk cId="2005567890" sldId="7446"/>
            <ac:cxnSpMk id="69" creationId="{D408DD50-6F86-4DA5-BFC3-BCF53717F2CC}"/>
          </ac:cxnSpMkLst>
        </pc:cxnChg>
        <pc:cxnChg chg="add mod">
          <ac:chgData name="ROBERTO ANDRADE MANSUR" userId="10a07775-797c-43e1-ac40-aa24f29d8c96" providerId="ADAL" clId="{BFED318E-DD90-43AD-A84C-0D7CF193F554}" dt="2021-11-17T19:54:34.345" v="3567" actId="164"/>
          <ac:cxnSpMkLst>
            <pc:docMk/>
            <pc:sldMk cId="2005567890" sldId="7446"/>
            <ac:cxnSpMk id="70" creationId="{63632BE1-E8FE-4DA8-96DF-03AD4EAD3C0A}"/>
          </ac:cxnSpMkLst>
        </pc:cxnChg>
        <pc:cxnChg chg="add mod">
          <ac:chgData name="ROBERTO ANDRADE MANSUR" userId="10a07775-797c-43e1-ac40-aa24f29d8c96" providerId="ADAL" clId="{BFED318E-DD90-43AD-A84C-0D7CF193F554}" dt="2021-11-17T19:54:34.345" v="3567" actId="164"/>
          <ac:cxnSpMkLst>
            <pc:docMk/>
            <pc:sldMk cId="2005567890" sldId="7446"/>
            <ac:cxnSpMk id="71" creationId="{795A614C-3887-4CB1-8D46-F00C32C729F4}"/>
          </ac:cxnSpMkLst>
        </pc:cxnChg>
        <pc:cxnChg chg="add mod ord">
          <ac:chgData name="ROBERTO ANDRADE MANSUR" userId="10a07775-797c-43e1-ac40-aa24f29d8c96" providerId="ADAL" clId="{BFED318E-DD90-43AD-A84C-0D7CF193F554}" dt="2021-11-17T20:05:38.018" v="3776" actId="1036"/>
          <ac:cxnSpMkLst>
            <pc:docMk/>
            <pc:sldMk cId="2005567890" sldId="7446"/>
            <ac:cxnSpMk id="80" creationId="{7C225E5A-392E-4769-A73D-7105AC62E4F8}"/>
          </ac:cxnSpMkLst>
        </pc:cxnChg>
        <pc:cxnChg chg="add del mod">
          <ac:chgData name="ROBERTO ANDRADE MANSUR" userId="10a07775-797c-43e1-ac40-aa24f29d8c96" providerId="ADAL" clId="{BFED318E-DD90-43AD-A84C-0D7CF193F554}" dt="2021-11-17T19:52:31.804" v="3536" actId="478"/>
          <ac:cxnSpMkLst>
            <pc:docMk/>
            <pc:sldMk cId="2005567890" sldId="7446"/>
            <ac:cxnSpMk id="83" creationId="{E7EA1D8E-5474-4207-87A9-FC7B666458AB}"/>
          </ac:cxnSpMkLst>
        </pc:cxnChg>
        <pc:cxnChg chg="add mod">
          <ac:chgData name="ROBERTO ANDRADE MANSUR" userId="10a07775-797c-43e1-ac40-aa24f29d8c96" providerId="ADAL" clId="{BFED318E-DD90-43AD-A84C-0D7CF193F554}" dt="2021-11-18T16:59:13.311" v="3962" actId="164"/>
          <ac:cxnSpMkLst>
            <pc:docMk/>
            <pc:sldMk cId="2005567890" sldId="7446"/>
            <ac:cxnSpMk id="104" creationId="{BF2BDD8A-077C-4452-8AAD-ED7BD6E5C4B7}"/>
          </ac:cxnSpMkLst>
        </pc:cxnChg>
        <pc:cxnChg chg="add mod">
          <ac:chgData name="ROBERTO ANDRADE MANSUR" userId="10a07775-797c-43e1-ac40-aa24f29d8c96" providerId="ADAL" clId="{BFED318E-DD90-43AD-A84C-0D7CF193F554}" dt="2021-11-18T16:59:13.311" v="3962" actId="164"/>
          <ac:cxnSpMkLst>
            <pc:docMk/>
            <pc:sldMk cId="2005567890" sldId="7446"/>
            <ac:cxnSpMk id="105" creationId="{D7AC853C-CAB9-434F-A0B7-BE0AC623A85A}"/>
          </ac:cxnSpMkLst>
        </pc:cxnChg>
      </pc:sldChg>
      <pc:sldChg chg="delSp modSp add">
        <pc:chgData name="ROBERTO ANDRADE MANSUR" userId="10a07775-797c-43e1-ac40-aa24f29d8c96" providerId="ADAL" clId="{BFED318E-DD90-43AD-A84C-0D7CF193F554}" dt="2021-11-17T20:10:16.952" v="3884" actId="478"/>
        <pc:sldMkLst>
          <pc:docMk/>
          <pc:sldMk cId="2776718352" sldId="7447"/>
        </pc:sldMkLst>
        <pc:spChg chg="mod">
          <ac:chgData name="ROBERTO ANDRADE MANSUR" userId="10a07775-797c-43e1-ac40-aa24f29d8c96" providerId="ADAL" clId="{BFED318E-DD90-43AD-A84C-0D7CF193F554}" dt="2021-11-17T20:10:14.351" v="3883" actId="20577"/>
          <ac:spMkLst>
            <pc:docMk/>
            <pc:sldMk cId="2776718352" sldId="7447"/>
            <ac:spMk id="2" creationId="{12001AB9-3B51-45AB-9576-0A2296F291CF}"/>
          </ac:spMkLst>
        </pc:spChg>
        <pc:spChg chg="del">
          <ac:chgData name="ROBERTO ANDRADE MANSUR" userId="10a07775-797c-43e1-ac40-aa24f29d8c96" providerId="ADAL" clId="{BFED318E-DD90-43AD-A84C-0D7CF193F554}" dt="2021-11-17T20:10:16.952" v="3884" actId="478"/>
          <ac:spMkLst>
            <pc:docMk/>
            <pc:sldMk cId="2776718352" sldId="7447"/>
            <ac:spMk id="3" creationId="{6374707E-AEF0-4100-906A-8C3AC31ED3DF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18" creationId="{1E5BCA44-2DEE-4782-A9B2-904D57DE2AE7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42" creationId="{C71FCEA7-F838-4349-8C52-8D0E0421C7DA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43" creationId="{32A9651D-BDE8-461B-95BF-7ADC49F5A84A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46" creationId="{481CE88C-E9E7-499D-ABB3-5F3AA68AF1F9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54" creationId="{FCE4DA37-74F9-4FAD-BAC2-C469AA5FFA3A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55" creationId="{763D3C32-667F-4672-A5BF-92F72192C794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81" creationId="{15D26A34-D2C8-40CC-97B2-18DC6C269C2F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82" creationId="{5708056D-3400-4EAB-8CAD-955CF26D7FBB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89" creationId="{430EFE9E-77DE-409D-8366-B8068A33192C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90" creationId="{62DF72E7-E134-4869-BB1D-441DCED256E6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91" creationId="{EF9B19F5-2BC7-4CAD-8F8B-7236C584FF5E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103" creationId="{46EFDC9E-3270-488F-9CC6-65D0D6864BB0}"/>
          </ac:spMkLst>
        </pc:spChg>
        <pc:spChg chg="del">
          <ac:chgData name="ROBERTO ANDRADE MANSUR" userId="10a07775-797c-43e1-ac40-aa24f29d8c96" providerId="ADAL" clId="{BFED318E-DD90-43AD-A84C-0D7CF193F554}" dt="2021-11-17T20:10:01.625" v="3838" actId="478"/>
          <ac:spMkLst>
            <pc:docMk/>
            <pc:sldMk cId="2776718352" sldId="7447"/>
            <ac:spMk id="107" creationId="{E53168DA-3074-4150-9B85-1015EB3B4EDF}"/>
          </ac:spMkLst>
        </pc:spChg>
        <pc:grpChg chg="del">
          <ac:chgData name="ROBERTO ANDRADE MANSUR" userId="10a07775-797c-43e1-ac40-aa24f29d8c96" providerId="ADAL" clId="{BFED318E-DD90-43AD-A84C-0D7CF193F554}" dt="2021-11-17T20:10:01.625" v="3838" actId="478"/>
          <ac:grpSpMkLst>
            <pc:docMk/>
            <pc:sldMk cId="2776718352" sldId="7447"/>
            <ac:grpSpMk id="8" creationId="{0983B580-124C-46EA-8689-3CE8B3CF91FC}"/>
          </ac:grpSpMkLst>
        </pc:grpChg>
        <pc:grpChg chg="del">
          <ac:chgData name="ROBERTO ANDRADE MANSUR" userId="10a07775-797c-43e1-ac40-aa24f29d8c96" providerId="ADAL" clId="{BFED318E-DD90-43AD-A84C-0D7CF193F554}" dt="2021-11-17T20:10:01.625" v="3838" actId="478"/>
          <ac:grpSpMkLst>
            <pc:docMk/>
            <pc:sldMk cId="2776718352" sldId="7447"/>
            <ac:grpSpMk id="20" creationId="{B926AC58-B5A3-4673-8811-22DC6C7CA3A5}"/>
          </ac:grpSpMkLst>
        </pc:grpChg>
        <pc:grpChg chg="del">
          <ac:chgData name="ROBERTO ANDRADE MANSUR" userId="10a07775-797c-43e1-ac40-aa24f29d8c96" providerId="ADAL" clId="{BFED318E-DD90-43AD-A84C-0D7CF193F554}" dt="2021-11-17T20:10:01.625" v="3838" actId="478"/>
          <ac:grpSpMkLst>
            <pc:docMk/>
            <pc:sldMk cId="2776718352" sldId="7447"/>
            <ac:grpSpMk id="35" creationId="{11FCDD2F-CBAA-466C-8D27-355E034243B9}"/>
          </ac:grpSpMkLst>
        </pc:grpChg>
        <pc:grpChg chg="del">
          <ac:chgData name="ROBERTO ANDRADE MANSUR" userId="10a07775-797c-43e1-ac40-aa24f29d8c96" providerId="ADAL" clId="{BFED318E-DD90-43AD-A84C-0D7CF193F554}" dt="2021-11-17T20:10:01.625" v="3838" actId="478"/>
          <ac:grpSpMkLst>
            <pc:docMk/>
            <pc:sldMk cId="2776718352" sldId="7447"/>
            <ac:grpSpMk id="97" creationId="{780D79F0-4B78-460D-B84B-A1A8C02341B1}"/>
          </ac:grpSpMkLst>
        </pc:grp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41" creationId="{1D32B0EC-0AB1-489D-BF57-B9D9BC398EBF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44" creationId="{B12CBBEF-B8D4-4FE8-BE05-DF8209C97E06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47" creationId="{0DC167D6-5537-4F6D-8705-DEFD058C915C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48" creationId="{A5A1DD12-8E94-4DCC-B94D-DB968F235837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49" creationId="{FCC51880-28CD-4425-BBC8-E218BE9C4508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78" creationId="{D2575E7D-0100-4BCA-BA12-A0D10A51293C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86" creationId="{315FC43F-C2F7-40B6-8109-1E1337477474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87" creationId="{D01C6FA3-95FC-4004-B24F-CBC868CD2BB2}"/>
          </ac:picMkLst>
        </pc:picChg>
        <pc:picChg chg="del">
          <ac:chgData name="ROBERTO ANDRADE MANSUR" userId="10a07775-797c-43e1-ac40-aa24f29d8c96" providerId="ADAL" clId="{BFED318E-DD90-43AD-A84C-0D7CF193F554}" dt="2021-11-17T20:10:01.625" v="3838" actId="478"/>
          <ac:picMkLst>
            <pc:docMk/>
            <pc:sldMk cId="2776718352" sldId="7447"/>
            <ac:picMk id="88" creationId="{3100F546-90A9-465E-87F3-DAF7F732FA11}"/>
          </ac:picMkLst>
        </pc:pic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14" creationId="{C9FD7147-5DA0-41FB-A5DE-2DAB74D86C52}"/>
          </ac:cxnSpMkLst>
        </pc:cxn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24" creationId="{C7D61C94-5CA8-4B7B-B0CD-6BB7FB4045B4}"/>
          </ac:cxnSpMkLst>
        </pc:cxn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50" creationId="{CFA2F32F-A063-41FA-9351-A9EB170054C8}"/>
          </ac:cxnSpMkLst>
        </pc:cxn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80" creationId="{7C225E5A-392E-4769-A73D-7105AC62E4F8}"/>
          </ac:cxnSpMkLst>
        </pc:cxn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104" creationId="{BF2BDD8A-077C-4452-8AAD-ED7BD6E5C4B7}"/>
          </ac:cxnSpMkLst>
        </pc:cxnChg>
        <pc:cxnChg chg="del">
          <ac:chgData name="ROBERTO ANDRADE MANSUR" userId="10a07775-797c-43e1-ac40-aa24f29d8c96" providerId="ADAL" clId="{BFED318E-DD90-43AD-A84C-0D7CF193F554}" dt="2021-11-17T20:10:01.625" v="3838" actId="478"/>
          <ac:cxnSpMkLst>
            <pc:docMk/>
            <pc:sldMk cId="2776718352" sldId="7447"/>
            <ac:cxnSpMk id="105" creationId="{D7AC853C-CAB9-434F-A0B7-BE0AC623A85A}"/>
          </ac:cxnSpMkLst>
        </pc:cxnChg>
      </pc:sldChg>
      <pc:sldChg chg="add del">
        <pc:chgData name="ROBERTO ANDRADE MANSUR" userId="10a07775-797c-43e1-ac40-aa24f29d8c96" providerId="ADAL" clId="{BFED318E-DD90-43AD-A84C-0D7CF193F554}" dt="2021-11-17T20:06:42.985" v="3777" actId="2696"/>
        <pc:sldMkLst>
          <pc:docMk/>
          <pc:sldMk cId="239052695" sldId="744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45F1279E-1919-43AF-808A-7BD4A348C4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26CFF8DB-D588-4E94-AB3C-E7E9B7D303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5C63BA-B3E4-4AF6-AA19-F7FD9DFC2969}" type="datetimeFigureOut">
              <a:rPr lang="pt-BR" smtClean="0"/>
              <a:t>22/1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B7B0CCF-1A68-4747-B9EB-9131537B586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F4DE065-B7DA-4D7F-A82D-A2FC6CD0A4D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562865-87CA-4B28-B671-1B003200438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37258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uzano Sans Light" panose="02010303030508060203" pitchFamily="2" charset="77"/>
              </a:defRPr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uzano Sans Light" panose="02010303030508060203" pitchFamily="2" charset="77"/>
              </a:defRPr>
            </a:lvl1pPr>
          </a:lstStyle>
          <a:p>
            <a:fld id="{F85B522B-A83D-4C4D-BBA3-E1D9362129EE}" type="datetimeFigureOut">
              <a:rPr lang="pt-BR" smtClean="0"/>
              <a:pPr/>
              <a:t>22/1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pt-BR"/>
              <a:t>Editar estilos de texto Mestre
Segundo nível
Terceiro nível
Quarto nível
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uzano Sans Light" panose="02010303030508060203" pitchFamily="2" charset="77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uzano Sans Light" panose="02010303030508060203" pitchFamily="2" charset="77"/>
              </a:defRPr>
            </a:lvl1pPr>
          </a:lstStyle>
          <a:p>
            <a:fld id="{D94DCB34-1BBE-0C48-A255-6A9EC05E03CB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80686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uzano Sans Light" panose="02010303030508060203" pitchFamily="2" charset="77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2000" baseline="-250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uito prazer, nós somos a Suzano!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700" baseline="-250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qui, nós plantamos o futuro do planeta a partir daquilo que mais conhecemos: as árvore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B05349-8446-4B2D-826E-061633F7951F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47355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49315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1186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3956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8272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57392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5887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ssos produtos são todos de origem renovável, biodegradável e reciclável. </a:t>
            </a: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do é produzido a partir do eucalipto, que é plantado e colhido sempre de forma responsável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ós temos diversas marcas divididas entre as categorias de Celulose, Papel e embalagem, Bens de consumo e Novos negócio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B05349-8446-4B2D-826E-061633F7951F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8504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600" baseline="-25000" dirty="0">
                <a:latin typeface="+mn-lt"/>
              </a:rPr>
              <a:t>De alguma forma o que nós produzimos faz parte da sua vida hoje... </a:t>
            </a:r>
            <a:endParaRPr lang="pt-BR" sz="600" baseline="-25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eja o canudinho ou no copo de papel que são mais sustentáveis.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o papel toalha que ajuda na limpeza. 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as folhas do caderno ou do livro.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a sacola que transporta seu pedido de delivery...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</a:rPr>
              <a:t>E até mesmo na caixinha do remédio que consome ou da máscara descartável que te deixa mais seguro e contém celulos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600" baseline="-25000" dirty="0">
                <a:latin typeface="+mn-lt"/>
              </a:rPr>
              <a:t>Temos</a:t>
            </a:r>
            <a:r>
              <a:rPr lang="pt-BR" sz="600" baseline="-25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mais de 20 marcas de papel para cuidados de saúde, higiene, para imprimir e escrever, para embalagens, projetos gráficos e produtos descartáveis. </a:t>
            </a:r>
          </a:p>
          <a:p>
            <a:endParaRPr lang="pt-BR" sz="600" baseline="-25000" dirty="0">
              <a:latin typeface="+mn-lt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B05349-8446-4B2D-826E-061633F7951F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1594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ó conseguimos atuar com essa infinidade de soluções porque somos a soma de mais de 15 mil visões de mundo diferentes. A diversidade e a inclusão são premissas para a Suzano se tornar uma empresa melhor a cada dia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15 mil colaboradores direto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20 mil colaboradores indireto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ssos direcionadores de cultura traduzem nosso jeito de ser: </a:t>
            </a: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m somos: Gente que inspira e transforma. </a:t>
            </a: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que fazemos: Gerar e compartilhar valor. </a:t>
            </a: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t-BR" sz="1800" baseline="-25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o fazemos: Só é bom para nós se for bom para o mundo. </a:t>
            </a:r>
            <a:endParaRPr lang="pt-BR" sz="1800" baseline="-25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baseline="-250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B05349-8446-4B2D-826E-061633F7951F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9732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47261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5480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223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4144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DCB34-1BBE-0C48-A255-6A9EC05E03CB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7812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A4F90987-2457-42CB-B9FD-8350F2DEEC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533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A4F90987-2457-42CB-B9FD-8350F2DEE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7">
            <a:extLst>
              <a:ext uri="{FF2B5EF4-FFF2-40B4-BE49-F238E27FC236}">
                <a16:creationId xmlns:a16="http://schemas.microsoft.com/office/drawing/2014/main" id="{C0B6D3CE-084C-43A0-85B1-3D7E40B7BE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5D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2" name="Espaço Reservado para Texto 3">
            <a:extLst>
              <a:ext uri="{FF2B5EF4-FFF2-40B4-BE49-F238E27FC236}">
                <a16:creationId xmlns:a16="http://schemas.microsoft.com/office/drawing/2014/main" id="{99245DE5-9515-4A44-A1B9-65B6FEA5AA9A}"/>
              </a:ext>
            </a:extLst>
          </p:cNvPr>
          <p:cNvSpPr txBox="1">
            <a:spLocks/>
          </p:cNvSpPr>
          <p:nvPr userDrawn="1"/>
        </p:nvSpPr>
        <p:spPr>
          <a:xfrm>
            <a:off x="6680139" y="2477199"/>
            <a:ext cx="5038846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7020"/>
              </a:lnSpc>
              <a:buNone/>
            </a:pPr>
            <a:endParaRPr lang="pt-BR" sz="7200" b="1">
              <a:solidFill>
                <a:schemeClr val="tx1"/>
              </a:solidFill>
              <a:latin typeface="Abadi"/>
            </a:endParaRP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C5965D4E-DD55-49EE-9F7C-44ED8236BC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22BA0ED-3B52-414E-AADD-3B824C511089}"/>
              </a:ext>
            </a:extLst>
          </p:cNvPr>
          <p:cNvSpPr txBox="1">
            <a:spLocks/>
          </p:cNvSpPr>
          <p:nvPr userDrawn="1"/>
        </p:nvSpPr>
        <p:spPr>
          <a:xfrm>
            <a:off x="7442202" y="4468269"/>
            <a:ext cx="4276784" cy="1370657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t-BR" sz="3200">
                <a:solidFill>
                  <a:schemeClr val="tx1"/>
                </a:solidFill>
                <a:latin typeface="Suzano Sans Thin" panose="02010403030508060203" pitchFamily="2" charset="77"/>
              </a:rPr>
              <a:t>Proposta de projeto</a:t>
            </a:r>
            <a:endParaRPr lang="en-US" sz="32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9B9EF08C-C69A-4D2B-AF9A-D6AAF4ACAD91}"/>
              </a:ext>
            </a:extLst>
          </p:cNvPr>
          <p:cNvSpPr txBox="1">
            <a:spLocks/>
          </p:cNvSpPr>
          <p:nvPr userDrawn="1"/>
        </p:nvSpPr>
        <p:spPr>
          <a:xfrm>
            <a:off x="6072849" y="1500101"/>
            <a:ext cx="5622985" cy="40227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t-BR" sz="1400">
                <a:solidFill>
                  <a:schemeClr val="tx1"/>
                </a:solidFill>
                <a:latin typeface="Suzano Sans Thin" panose="02010403030508060203" pitchFamily="2" charset="77"/>
              </a:rPr>
              <a:t>Julho 2020</a:t>
            </a:r>
            <a:endParaRPr lang="en-US" sz="14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4D274E7B-7009-45D0-8FD5-7DD8C90E1890}"/>
              </a:ext>
            </a:extLst>
          </p:cNvPr>
          <p:cNvSpPr txBox="1">
            <a:spLocks/>
          </p:cNvSpPr>
          <p:nvPr userDrawn="1"/>
        </p:nvSpPr>
        <p:spPr>
          <a:xfrm>
            <a:off x="4671932" y="1988650"/>
            <a:ext cx="7047053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6080"/>
              </a:lnSpc>
              <a:buNone/>
            </a:pPr>
            <a:r>
              <a:rPr lang="pt-BR" sz="6000" b="1">
                <a:solidFill>
                  <a:schemeClr val="tx1"/>
                </a:solidFill>
                <a:latin typeface="Suzano Sans" panose="02010503030508060203" pitchFamily="2" charset="77"/>
              </a:rPr>
              <a:t>TORRE DE CONTROLE FLORESTAL</a:t>
            </a:r>
            <a:endParaRPr lang="en-US" sz="6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45391CDB-F5DD-4381-875B-FFAAB8F6FA9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432437"/>
            <a:ext cx="11899900" cy="546100"/>
          </a:xfrm>
          <a:prstGeom prst="rect">
            <a:avLst/>
          </a:prstGeom>
        </p:spPr>
      </p:pic>
      <p:pic>
        <p:nvPicPr>
          <p:cNvPr id="8" name="Picture 1">
            <a:extLst>
              <a:ext uri="{FF2B5EF4-FFF2-40B4-BE49-F238E27FC236}">
                <a16:creationId xmlns:a16="http://schemas.microsoft.com/office/drawing/2014/main" id="{A3E0DDCE-F509-4748-82FC-C2F81F4BC7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36934" y="5683004"/>
            <a:ext cx="2496272" cy="1170128"/>
          </a:xfrm>
          <a:prstGeom prst="rect">
            <a:avLst/>
          </a:prstGeom>
        </p:spPr>
      </p:pic>
      <p:pic>
        <p:nvPicPr>
          <p:cNvPr id="9" name="Picture 11">
            <a:extLst>
              <a:ext uri="{FF2B5EF4-FFF2-40B4-BE49-F238E27FC236}">
                <a16:creationId xmlns:a16="http://schemas.microsoft.com/office/drawing/2014/main" id="{5AFCC6C4-C656-49E3-9ACF-29A9B44F387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03268" y="471671"/>
            <a:ext cx="4775200" cy="4737100"/>
          </a:xfrm>
          <a:prstGeom prst="rect">
            <a:avLst/>
          </a:prstGeom>
        </p:spPr>
      </p:pic>
      <p:pic>
        <p:nvPicPr>
          <p:cNvPr id="10" name="Graphic 14">
            <a:extLst>
              <a:ext uri="{FF2B5EF4-FFF2-40B4-BE49-F238E27FC236}">
                <a16:creationId xmlns:a16="http://schemas.microsoft.com/office/drawing/2014/main" id="{4391918C-7186-404D-BC6E-91DD49B41C1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25200" y="1075063"/>
            <a:ext cx="464559" cy="46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21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EFC11D6-B06B-440A-9124-277DDD9617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9A71CE7-A2DC-45CC-BDD7-CE05EB3563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461A823-19B6-41A7-98DD-4A07A3F36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139C0-761A-40DD-B85F-F542292E2E3B}" type="datetimeFigureOut">
              <a:rPr lang="pt-BR" smtClean="0"/>
              <a:t>23/1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B9ACC1F-1F97-4C8F-B3D0-16DA3E3D8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4B11E82-4557-42EA-91FB-61E4567B8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2A7DB-12B4-43E5-8FAE-72A10682E32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79367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2541ED-3466-473D-8BAA-AC4DF582D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DF473B-290C-40AB-A25A-8B27C80624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909D7A4-4B65-41B2-8A43-FD94F45C91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139C0-761A-40DD-B85F-F542292E2E3B}" type="datetimeFigureOut">
              <a:rPr lang="pt-BR" smtClean="0"/>
              <a:t>23/1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6ABA400-08A8-450C-B4A6-5389ADBC4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AE21158-F840-4B5F-8658-F25C4E5E3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2A7DB-12B4-43E5-8FAE-72A10682E32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10323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E615CC21-8B2C-46BE-A295-ACFB4F9B3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36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Slide do think-cell" r:id="rId5" imgW="395" imgH="394" progId="TCLayout.ActiveDocument.1">
                  <p:embed/>
                </p:oleObj>
              </mc:Choice>
              <mc:Fallback>
                <p:oleObj name="Slide do think-cell" r:id="rId5" imgW="395" imgH="394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E615CC21-8B2C-46BE-A295-ACFB4F9B38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tângulo 17" hidden="1">
            <a:extLst>
              <a:ext uri="{FF2B5EF4-FFF2-40B4-BE49-F238E27FC236}">
                <a16:creationId xmlns:a16="http://schemas.microsoft.com/office/drawing/2014/main" id="{33D7C181-582B-42FE-91CD-1D51588502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000" b="1" i="0" baseline="0">
              <a:latin typeface="Suzano Sans" panose="02010503030508060203" pitchFamily="2" charset="0"/>
              <a:ea typeface="+mn-ea"/>
              <a:cs typeface="+mn-cs"/>
              <a:sym typeface="Suzano Sans" panose="02010503030508060203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28E56B-7D18-42BF-8F5A-05B2F33794D4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9FC031C-6B42-4091-9D99-FD252AAB0248}"/>
              </a:ext>
            </a:extLst>
          </p:cNvPr>
          <p:cNvSpPr txBox="1"/>
          <p:nvPr userDrawn="1"/>
        </p:nvSpPr>
        <p:spPr>
          <a:xfrm>
            <a:off x="2737096" y="4193760"/>
            <a:ext cx="83549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600">
              <a:latin typeface="Suzano Sans" panose="02010503030508060203" pitchFamily="2" charset="0"/>
            </a:endParaRP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A6D32209-9BA0-4DA3-AA83-AA17BF192399}"/>
              </a:ext>
            </a:extLst>
          </p:cNvPr>
          <p:cNvGrpSpPr/>
          <p:nvPr userDrawn="1"/>
        </p:nvGrpSpPr>
        <p:grpSpPr>
          <a:xfrm>
            <a:off x="242888" y="150813"/>
            <a:ext cx="2065337" cy="2435225"/>
            <a:chOff x="242888" y="150813"/>
            <a:chExt cx="2065337" cy="2435225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F674AD78-1548-42DE-892D-ACA6C9CC72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700" y="212726"/>
              <a:ext cx="944563" cy="1112838"/>
            </a:xfrm>
            <a:custGeom>
              <a:avLst/>
              <a:gdLst>
                <a:gd name="T0" fmla="*/ 1779 w 1908"/>
                <a:gd name="T1" fmla="*/ 1709 h 2248"/>
                <a:gd name="T2" fmla="*/ 1779 w 1908"/>
                <a:gd name="T3" fmla="*/ 1709 h 2248"/>
                <a:gd name="T4" fmla="*/ 1404 w 1908"/>
                <a:gd name="T5" fmla="*/ 2106 h 2248"/>
                <a:gd name="T6" fmla="*/ 822 w 1908"/>
                <a:gd name="T7" fmla="*/ 2248 h 2248"/>
                <a:gd name="T8" fmla="*/ 119 w 1908"/>
                <a:gd name="T9" fmla="*/ 2248 h 2248"/>
                <a:gd name="T10" fmla="*/ 0 w 1908"/>
                <a:gd name="T11" fmla="*/ 2126 h 2248"/>
                <a:gd name="T12" fmla="*/ 0 w 1908"/>
                <a:gd name="T13" fmla="*/ 123 h 2248"/>
                <a:gd name="T14" fmla="*/ 119 w 1908"/>
                <a:gd name="T15" fmla="*/ 0 h 2248"/>
                <a:gd name="T16" fmla="*/ 822 w 1908"/>
                <a:gd name="T17" fmla="*/ 0 h 2248"/>
                <a:gd name="T18" fmla="*/ 1409 w 1908"/>
                <a:gd name="T19" fmla="*/ 142 h 2248"/>
                <a:gd name="T20" fmla="*/ 1781 w 1908"/>
                <a:gd name="T21" fmla="*/ 539 h 2248"/>
                <a:gd name="T22" fmla="*/ 1908 w 1908"/>
                <a:gd name="T23" fmla="*/ 1124 h 2248"/>
                <a:gd name="T24" fmla="*/ 1779 w 1908"/>
                <a:gd name="T25" fmla="*/ 1709 h 2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8" h="2248">
                  <a:moveTo>
                    <a:pt x="1779" y="1709"/>
                  </a:moveTo>
                  <a:lnTo>
                    <a:pt x="1779" y="1709"/>
                  </a:lnTo>
                  <a:cubicBezTo>
                    <a:pt x="1693" y="1879"/>
                    <a:pt x="1568" y="2011"/>
                    <a:pt x="1404" y="2106"/>
                  </a:cubicBezTo>
                  <a:cubicBezTo>
                    <a:pt x="1239" y="2201"/>
                    <a:pt x="1045" y="2248"/>
                    <a:pt x="822" y="2248"/>
                  </a:cubicBezTo>
                  <a:lnTo>
                    <a:pt x="119" y="2248"/>
                  </a:lnTo>
                  <a:cubicBezTo>
                    <a:pt x="40" y="2248"/>
                    <a:pt x="0" y="2207"/>
                    <a:pt x="0" y="2126"/>
                  </a:cubicBezTo>
                  <a:lnTo>
                    <a:pt x="0" y="123"/>
                  </a:lnTo>
                  <a:cubicBezTo>
                    <a:pt x="0" y="41"/>
                    <a:pt x="40" y="0"/>
                    <a:pt x="119" y="0"/>
                  </a:cubicBezTo>
                  <a:lnTo>
                    <a:pt x="822" y="0"/>
                  </a:lnTo>
                  <a:cubicBezTo>
                    <a:pt x="1050" y="0"/>
                    <a:pt x="1245" y="48"/>
                    <a:pt x="1409" y="142"/>
                  </a:cubicBezTo>
                  <a:cubicBezTo>
                    <a:pt x="1572" y="237"/>
                    <a:pt x="1696" y="369"/>
                    <a:pt x="1781" y="539"/>
                  </a:cubicBezTo>
                  <a:cubicBezTo>
                    <a:pt x="1866" y="709"/>
                    <a:pt x="1908" y="904"/>
                    <a:pt x="1908" y="1124"/>
                  </a:cubicBezTo>
                  <a:cubicBezTo>
                    <a:pt x="1908" y="1345"/>
                    <a:pt x="1865" y="1540"/>
                    <a:pt x="1779" y="1709"/>
                  </a:cubicBezTo>
                  <a:close/>
                </a:path>
              </a:pathLst>
            </a:custGeom>
            <a:solidFill>
              <a:srgbClr val="58595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pt-BR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2F742516-7361-438A-81CF-023FC8362F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888" y="150813"/>
              <a:ext cx="2065337" cy="2435225"/>
            </a:xfrm>
            <a:custGeom>
              <a:avLst/>
              <a:gdLst>
                <a:gd name="T0" fmla="*/ 0 w 3982"/>
                <a:gd name="T1" fmla="*/ 4696 h 4696"/>
                <a:gd name="T2" fmla="*/ 0 w 3982"/>
                <a:gd name="T3" fmla="*/ 4696 h 4696"/>
                <a:gd name="T4" fmla="*/ 536 w 3982"/>
                <a:gd name="T5" fmla="*/ 4696 h 4696"/>
                <a:gd name="T6" fmla="*/ 2382 w 3982"/>
                <a:gd name="T7" fmla="*/ 4246 h 4696"/>
                <a:gd name="T8" fmla="*/ 3573 w 3982"/>
                <a:gd name="T9" fmla="*/ 2987 h 4696"/>
                <a:gd name="T10" fmla="*/ 3982 w 3982"/>
                <a:gd name="T11" fmla="*/ 1131 h 4696"/>
                <a:gd name="T12" fmla="*/ 3847 w 3982"/>
                <a:gd name="T13" fmla="*/ 0 h 4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82" h="4696">
                  <a:moveTo>
                    <a:pt x="0" y="4696"/>
                  </a:moveTo>
                  <a:lnTo>
                    <a:pt x="0" y="4696"/>
                  </a:lnTo>
                  <a:lnTo>
                    <a:pt x="536" y="4696"/>
                  </a:lnTo>
                  <a:cubicBezTo>
                    <a:pt x="1245" y="4696"/>
                    <a:pt x="1860" y="4546"/>
                    <a:pt x="2382" y="4246"/>
                  </a:cubicBezTo>
                  <a:cubicBezTo>
                    <a:pt x="2903" y="3945"/>
                    <a:pt x="3300" y="3526"/>
                    <a:pt x="3573" y="2987"/>
                  </a:cubicBezTo>
                  <a:cubicBezTo>
                    <a:pt x="3846" y="2449"/>
                    <a:pt x="3982" y="1830"/>
                    <a:pt x="3982" y="1131"/>
                  </a:cubicBezTo>
                  <a:cubicBezTo>
                    <a:pt x="3982" y="727"/>
                    <a:pt x="3937" y="350"/>
                    <a:pt x="3847" y="0"/>
                  </a:cubicBezTo>
                </a:path>
              </a:pathLst>
            </a:custGeom>
            <a:noFill/>
            <a:ln w="20638" cap="flat">
              <a:solidFill>
                <a:srgbClr val="58595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22" name="Picture 18">
            <a:extLst>
              <a:ext uri="{FF2B5EF4-FFF2-40B4-BE49-F238E27FC236}">
                <a16:creationId xmlns:a16="http://schemas.microsoft.com/office/drawing/2014/main" id="{66E3E6EB-E0C0-4880-B747-BDC9937CB73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47844" y="277064"/>
            <a:ext cx="971142" cy="226882"/>
          </a:xfrm>
          <a:prstGeom prst="rect">
            <a:avLst/>
          </a:prstGeom>
        </p:spPr>
      </p:pic>
      <p:sp>
        <p:nvSpPr>
          <p:cNvPr id="23" name="Espaço Reservado para Texto 3">
            <a:extLst>
              <a:ext uri="{FF2B5EF4-FFF2-40B4-BE49-F238E27FC236}">
                <a16:creationId xmlns:a16="http://schemas.microsoft.com/office/drawing/2014/main" id="{97BF6FC5-2729-4340-A809-E8C4618BF667}"/>
              </a:ext>
            </a:extLst>
          </p:cNvPr>
          <p:cNvSpPr txBox="1">
            <a:spLocks/>
          </p:cNvSpPr>
          <p:nvPr userDrawn="1"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bg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bg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bg1"/>
              </a:solidFill>
              <a:latin typeface="Suzano Sans Thin" panose="02010403030508060203" pitchFamily="2" charset="77"/>
            </a:endParaRPr>
          </a:p>
        </p:txBody>
      </p:sp>
      <p:sp>
        <p:nvSpPr>
          <p:cNvPr id="25" name="Título 3">
            <a:extLst>
              <a:ext uri="{FF2B5EF4-FFF2-40B4-BE49-F238E27FC236}">
                <a16:creationId xmlns:a16="http://schemas.microsoft.com/office/drawing/2014/main" id="{98ED8694-BFE0-420E-8C08-2D2D1B404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182" y="295552"/>
            <a:ext cx="1738875" cy="1030012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lang="pt-BR" sz="2000" b="1" i="0">
                <a:solidFill>
                  <a:srgbClr val="E5DC1F"/>
                </a:solidFill>
                <a:latin typeface="Suzano Sans" panose="02010503030508060203" pitchFamily="2" charset="77"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43372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">
            <a:extLst>
              <a:ext uri="{FF2B5EF4-FFF2-40B4-BE49-F238E27FC236}">
                <a16:creationId xmlns:a16="http://schemas.microsoft.com/office/drawing/2014/main" id="{65F56744-4A0F-4C0F-85F0-6AFE0F913EFE}"/>
              </a:ext>
            </a:extLst>
          </p:cNvPr>
          <p:cNvSpPr/>
          <p:nvPr userDrawn="1"/>
        </p:nvSpPr>
        <p:spPr>
          <a:xfrm>
            <a:off x="6096001" y="0"/>
            <a:ext cx="6096002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530CDF39-AE05-4C42-832C-23184B10E06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72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10BF4222-ABBD-4914-BDB6-B5ED9B666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90812" y="0"/>
            <a:ext cx="544085" cy="6858000"/>
          </a:xfrm>
          <a:prstGeom prst="rect">
            <a:avLst/>
          </a:prstGeom>
        </p:spPr>
      </p:pic>
      <p:pic>
        <p:nvPicPr>
          <p:cNvPr id="5" name="Picture 18">
            <a:extLst>
              <a:ext uri="{FF2B5EF4-FFF2-40B4-BE49-F238E27FC236}">
                <a16:creationId xmlns:a16="http://schemas.microsoft.com/office/drawing/2014/main" id="{ECEED2E8-BA64-49B5-9EFC-A4EDF89037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7844" y="277064"/>
            <a:ext cx="971142" cy="226882"/>
          </a:xfrm>
          <a:prstGeom prst="rect">
            <a:avLst/>
          </a:prstGeom>
        </p:spPr>
      </p:pic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7472CA9F-E96B-43B4-9819-00ACD8DE9796}"/>
              </a:ext>
            </a:extLst>
          </p:cNvPr>
          <p:cNvSpPr txBox="1">
            <a:spLocks/>
          </p:cNvSpPr>
          <p:nvPr userDrawn="1"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bg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bg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bg1"/>
              </a:solidFill>
              <a:latin typeface="Suzano Sans Thin" panose="020104030305080602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314132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">
            <a:extLst>
              <a:ext uri="{FF2B5EF4-FFF2-40B4-BE49-F238E27FC236}">
                <a16:creationId xmlns:a16="http://schemas.microsoft.com/office/drawing/2014/main" id="{65F56744-4A0F-4C0F-85F0-6AFE0F913EFE}"/>
              </a:ext>
            </a:extLst>
          </p:cNvPr>
          <p:cNvSpPr/>
          <p:nvPr userDrawn="1"/>
        </p:nvSpPr>
        <p:spPr>
          <a:xfrm>
            <a:off x="3686628" y="0"/>
            <a:ext cx="8505375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530CDF39-AE05-4C42-832C-23184B10E066}"/>
              </a:ext>
            </a:extLst>
          </p:cNvPr>
          <p:cNvSpPr/>
          <p:nvPr userDrawn="1"/>
        </p:nvSpPr>
        <p:spPr>
          <a:xfrm>
            <a:off x="-1" y="0"/>
            <a:ext cx="3686629" cy="6858000"/>
          </a:xfrm>
          <a:prstGeom prst="rect">
            <a:avLst/>
          </a:prstGeom>
          <a:solidFill>
            <a:srgbClr val="272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10BF4222-ABBD-4914-BDB6-B5ED9B666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81437" y="0"/>
            <a:ext cx="544085" cy="6858000"/>
          </a:xfrm>
          <a:prstGeom prst="rect">
            <a:avLst/>
          </a:prstGeom>
        </p:spPr>
      </p:pic>
      <p:pic>
        <p:nvPicPr>
          <p:cNvPr id="5" name="Picture 18">
            <a:extLst>
              <a:ext uri="{FF2B5EF4-FFF2-40B4-BE49-F238E27FC236}">
                <a16:creationId xmlns:a16="http://schemas.microsoft.com/office/drawing/2014/main" id="{ECEED2E8-BA64-49B5-9EFC-A4EDF89037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7844" y="277064"/>
            <a:ext cx="971142" cy="226882"/>
          </a:xfrm>
          <a:prstGeom prst="rect">
            <a:avLst/>
          </a:prstGeom>
        </p:spPr>
      </p:pic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7472CA9F-E96B-43B4-9819-00ACD8DE9796}"/>
              </a:ext>
            </a:extLst>
          </p:cNvPr>
          <p:cNvSpPr txBox="1">
            <a:spLocks/>
          </p:cNvSpPr>
          <p:nvPr userDrawn="1"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bg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bg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bg1"/>
              </a:solidFill>
              <a:latin typeface="Suzano Sans Thin" panose="020104030305080602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97196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base">
    <p:bg>
      <p:bgPr>
        <a:solidFill>
          <a:srgbClr val="E5DC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078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3934927-D539-4D74-AF98-BD615313F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484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Slide do think-cell" r:id="rId5" imgW="395" imgH="394" progId="TCLayout.ActiveDocument.1">
                  <p:embed/>
                </p:oleObj>
              </mc:Choice>
              <mc:Fallback>
                <p:oleObj name="Slide do think-cell" r:id="rId5" imgW="395" imgH="394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3934927-D539-4D74-AF98-BD615313F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1170606D-C694-415D-8D61-1445A9E462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400" b="1" i="0" baseline="0">
              <a:latin typeface="Suzano Sans" panose="02010503030508060203" pitchFamily="2" charset="0"/>
              <a:ea typeface="+mn-ea"/>
              <a:cs typeface="+mn-cs"/>
              <a:sym typeface="Suzano Sans" panose="02010503030508060203" pitchFamily="2" charset="0"/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id="{2418E0A0-A282-4B5A-AD69-601C756554B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61113"/>
            <a:ext cx="10347767" cy="474871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A0951EA2-E4B0-4470-8BE0-988F8063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182" y="295552"/>
            <a:ext cx="9170505" cy="47487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pt-BR" sz="2400" b="1" i="0">
                <a:solidFill>
                  <a:prstClr val="black"/>
                </a:solidFill>
                <a:latin typeface="Suzano Sans" panose="02010503030508060203" pitchFamily="2" charset="77"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pt-BR"/>
              <a:t>Clique para editar o título Mestre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A749CA25-967C-4413-9830-58F80D3FC6E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C5C053B0-8321-43A6-9A79-71D615A97577}"/>
              </a:ext>
            </a:extLst>
          </p:cNvPr>
          <p:cNvSpPr txBox="1">
            <a:spLocks/>
          </p:cNvSpPr>
          <p:nvPr userDrawn="1"/>
        </p:nvSpPr>
        <p:spPr>
          <a:xfrm>
            <a:off x="334120" y="6455727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uzano Sans" panose="02010503030508060203" pitchFamily="2" charset="0"/>
              </a:rPr>
              <a:t>Transformação Digital Suzano 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uzano Sans" panose="02010503030508060203" pitchFamily="2" charset="0"/>
              </a:rPr>
              <a:t>| Alcance o impensável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uzano Sans" panose="020105030305080602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352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3">
            <a:extLst>
              <a:ext uri="{FF2B5EF4-FFF2-40B4-BE49-F238E27FC236}">
                <a16:creationId xmlns:a16="http://schemas.microsoft.com/office/drawing/2014/main" id="{52E20508-8D05-4011-8A08-A3D9D27C1ED4}"/>
              </a:ext>
            </a:extLst>
          </p:cNvPr>
          <p:cNvSpPr txBox="1">
            <a:spLocks/>
          </p:cNvSpPr>
          <p:nvPr userDrawn="1"/>
        </p:nvSpPr>
        <p:spPr>
          <a:xfrm>
            <a:off x="324622" y="149739"/>
            <a:ext cx="6921130" cy="546100"/>
          </a:xfrm>
          <a:prstGeom prst="rect">
            <a:avLst/>
          </a:prstGeom>
        </p:spPr>
        <p:txBody>
          <a:bodyPr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pt-BR" sz="2400" b="1">
                <a:solidFill>
                  <a:prstClr val="black"/>
                </a:solidFill>
                <a:latin typeface="Suzano Sans" panose="02010503030508060203" pitchFamily="2" charset="77"/>
              </a:rPr>
              <a:t>ABORDAGEM &amp; PROCESSO DE TRABALHO</a:t>
            </a:r>
            <a:endParaRPr kumimoji="0" lang="pt-BR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uzano Sans" panose="02010503030508060203" pitchFamily="2" charset="77"/>
              <a:ea typeface="+mn-ea"/>
              <a:cs typeface="+mn-cs"/>
            </a:endParaRPr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B7DBB79E-F472-4D1B-B76F-22931DF035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1113"/>
            <a:ext cx="10347767" cy="4748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988981-4ACE-4452-BE31-0C277291DD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14E678A6-E32C-41B7-A021-1E6B387B3AF4}"/>
              </a:ext>
            </a:extLst>
          </p:cNvPr>
          <p:cNvSpPr txBox="1">
            <a:spLocks/>
          </p:cNvSpPr>
          <p:nvPr userDrawn="1"/>
        </p:nvSpPr>
        <p:spPr>
          <a:xfrm>
            <a:off x="334120" y="6455727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uzano Sans" panose="02010503030508060203" pitchFamily="2" charset="0"/>
              </a:rPr>
              <a:t>Transformação Digital Suzano </a:t>
            </a: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uzano Sans" panose="02010503030508060203" pitchFamily="2" charset="0"/>
              </a:rPr>
              <a:t>| Alcance o impensável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uzano Sans" panose="020105030305080602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33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0B7561E-F2E7-499B-84B7-5AF81FDD5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B0B7561E-F2E7-499B-84B7-5AF81FDD5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6">
            <a:extLst>
              <a:ext uri="{FF2B5EF4-FFF2-40B4-BE49-F238E27FC236}">
                <a16:creationId xmlns:a16="http://schemas.microsoft.com/office/drawing/2014/main" id="{30A90434-7444-4B09-8EC1-D13962BA90B7}"/>
              </a:ext>
            </a:extLst>
          </p:cNvPr>
          <p:cNvSpPr/>
          <p:nvPr userDrawn="1"/>
        </p:nvSpPr>
        <p:spPr>
          <a:xfrm>
            <a:off x="0" y="0"/>
            <a:ext cx="12192003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E3817D01-FFF9-4C88-9C06-249BDB544CB1}"/>
              </a:ext>
            </a:extLst>
          </p:cNvPr>
          <p:cNvSpPr txBox="1">
            <a:spLocks/>
          </p:cNvSpPr>
          <p:nvPr userDrawn="1"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bg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bg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bg1"/>
              </a:solidFill>
              <a:latin typeface="Suzano Sans Thin" panose="02010403030508060203" pitchFamily="2" charset="77"/>
            </a:endParaRPr>
          </a:p>
        </p:txBody>
      </p:sp>
      <p:grpSp>
        <p:nvGrpSpPr>
          <p:cNvPr id="8" name="Group 5">
            <a:extLst>
              <a:ext uri="{FF2B5EF4-FFF2-40B4-BE49-F238E27FC236}">
                <a16:creationId xmlns:a16="http://schemas.microsoft.com/office/drawing/2014/main" id="{AD3DBF21-EEE5-45EE-8878-129DD3B6A0C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47625" y="665163"/>
            <a:ext cx="10347325" cy="474662"/>
            <a:chOff x="-30" y="419"/>
            <a:chExt cx="6518" cy="299"/>
          </a:xfrm>
        </p:grpSpPr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B152E026-602B-4926-B3D1-A1FD900E283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30" y="419"/>
              <a:ext cx="6518" cy="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D7D7E65-1A3B-4E4D-AE32-F55C5ACF9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" y="425"/>
              <a:ext cx="6509" cy="291"/>
            </a:xfrm>
            <a:custGeom>
              <a:avLst/>
              <a:gdLst>
                <a:gd name="T0" fmla="*/ 11841 w 12462"/>
                <a:gd name="T1" fmla="*/ 426 h 541"/>
                <a:gd name="T2" fmla="*/ 11841 w 12462"/>
                <a:gd name="T3" fmla="*/ 426 h 541"/>
                <a:gd name="T4" fmla="*/ 12112 w 12462"/>
                <a:gd name="T5" fmla="*/ 426 h 541"/>
                <a:gd name="T6" fmla="*/ 12112 w 12462"/>
                <a:gd name="T7" fmla="*/ 541 h 541"/>
                <a:gd name="T8" fmla="*/ 12462 w 12462"/>
                <a:gd name="T9" fmla="*/ 278 h 541"/>
                <a:gd name="T10" fmla="*/ 12112 w 12462"/>
                <a:gd name="T11" fmla="*/ 0 h 541"/>
                <a:gd name="T12" fmla="*/ 12112 w 12462"/>
                <a:gd name="T13" fmla="*/ 121 h 541"/>
                <a:gd name="T14" fmla="*/ 11568 w 12462"/>
                <a:gd name="T15" fmla="*/ 122 h 541"/>
                <a:gd name="T16" fmla="*/ 0 w 12462"/>
                <a:gd name="T17" fmla="*/ 1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62" h="541">
                  <a:moveTo>
                    <a:pt x="11841" y="426"/>
                  </a:moveTo>
                  <a:lnTo>
                    <a:pt x="11841" y="426"/>
                  </a:lnTo>
                  <a:lnTo>
                    <a:pt x="12112" y="426"/>
                  </a:lnTo>
                  <a:lnTo>
                    <a:pt x="12112" y="541"/>
                  </a:lnTo>
                  <a:lnTo>
                    <a:pt x="12462" y="278"/>
                  </a:lnTo>
                  <a:lnTo>
                    <a:pt x="12112" y="0"/>
                  </a:lnTo>
                  <a:lnTo>
                    <a:pt x="12112" y="121"/>
                  </a:lnTo>
                  <a:lnTo>
                    <a:pt x="11568" y="122"/>
                  </a:lnTo>
                  <a:lnTo>
                    <a:pt x="0" y="122"/>
                  </a:lnTo>
                </a:path>
              </a:pathLst>
            </a:custGeom>
            <a:noFill/>
            <a:ln w="22225" cap="rnd">
              <a:solidFill>
                <a:srgbClr val="E5DC1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11" name="Picture 18">
            <a:extLst>
              <a:ext uri="{FF2B5EF4-FFF2-40B4-BE49-F238E27FC236}">
                <a16:creationId xmlns:a16="http://schemas.microsoft.com/office/drawing/2014/main" id="{34B43A6C-6412-40E1-955D-053BCB205B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47844" y="277064"/>
            <a:ext cx="971142" cy="22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95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bas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72516A61-51B1-0544-9ECE-5B6F90FC5E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0684"/>
            <a:ext cx="10375900" cy="495300"/>
          </a:xfrm>
          <a:prstGeom prst="rect">
            <a:avLst/>
          </a:prstGeom>
        </p:spPr>
      </p:pic>
      <p:sp>
        <p:nvSpPr>
          <p:cNvPr id="8" name="Espaço Reservado para Texto 3">
            <a:extLst>
              <a:ext uri="{FF2B5EF4-FFF2-40B4-BE49-F238E27FC236}">
                <a16:creationId xmlns:a16="http://schemas.microsoft.com/office/drawing/2014/main" id="{BF83C9C7-1794-F241-83C5-DF73CCFEC81D}"/>
              </a:ext>
            </a:extLst>
          </p:cNvPr>
          <p:cNvSpPr txBox="1">
            <a:spLocks/>
          </p:cNvSpPr>
          <p:nvPr userDrawn="1"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bg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bg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bg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BFDFFD-947B-414A-9241-F3AF4B23A8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</a:blip>
          <a:stretch>
            <a:fillRect/>
          </a:stretch>
        </p:blipFill>
        <p:spPr>
          <a:xfrm>
            <a:off x="11040338" y="208182"/>
            <a:ext cx="892233" cy="208188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173CB11-22E9-8D4F-AEE2-E893B47F18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64122"/>
            <a:ext cx="9039225" cy="4748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rgbClr val="E5DC1F"/>
                </a:solidFill>
                <a:latin typeface="Suzano Sans" panose="02010503030508060203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ÍTULO</a:t>
            </a:r>
            <a:endParaRPr lang="en-BR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BAA24FC-BFBA-B643-9107-840C1789C9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3375" y="947517"/>
            <a:ext cx="9039225" cy="4748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Suzano Sans" panose="02010503030508060203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UBTÍTULO</a:t>
            </a:r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91091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311BCD1C-6A0A-4897-9CC7-0AB3C87596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3581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Slide do think-cell" r:id="rId15" imgW="395" imgH="394" progId="TCLayout.ActiveDocument.1">
                  <p:embed/>
                </p:oleObj>
              </mc:Choice>
              <mc:Fallback>
                <p:oleObj name="Slide do think-cell" r:id="rId15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311BCD1C-6A0A-4897-9CC7-0AB3C87596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63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0" r:id="rId2"/>
    <p:sldLayoutId id="2147483690" r:id="rId3"/>
    <p:sldLayoutId id="2147483691" r:id="rId4"/>
    <p:sldLayoutId id="2147483680" r:id="rId5"/>
    <p:sldLayoutId id="2147483672" r:id="rId6"/>
    <p:sldLayoutId id="2147483667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0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12" Type="http://schemas.openxmlformats.org/officeDocument/2006/relationships/image" Target="../media/image2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6.png"/><Relationship Id="rId12" Type="http://schemas.openxmlformats.org/officeDocument/2006/relationships/image" Target="../media/image2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37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6.png"/><Relationship Id="rId12" Type="http://schemas.openxmlformats.org/officeDocument/2006/relationships/image" Target="../media/image3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48.svg"/><Relationship Id="rId10" Type="http://schemas.openxmlformats.org/officeDocument/2006/relationships/image" Target="../media/image28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.emf"/><Relationship Id="rId1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7" Type="http://schemas.openxmlformats.org/officeDocument/2006/relationships/image" Target="../media/image51.sv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2.jfi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55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3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12" Type="http://schemas.openxmlformats.org/officeDocument/2006/relationships/image" Target="../media/image14.svg"/><Relationship Id="rId17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.png"/><Relationship Id="rId11" Type="http://schemas.openxmlformats.org/officeDocument/2006/relationships/image" Target="../media/image13.png"/><Relationship Id="rId5" Type="http://schemas.openxmlformats.org/officeDocument/2006/relationships/image" Target="../media/image17.png"/><Relationship Id="rId15" Type="http://schemas.openxmlformats.org/officeDocument/2006/relationships/image" Target="../media/image24.jpeg"/><Relationship Id="rId10" Type="http://schemas.openxmlformats.org/officeDocument/2006/relationships/image" Target="../media/image22.sv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34.svg"/><Relationship Id="rId5" Type="http://schemas.openxmlformats.org/officeDocument/2006/relationships/image" Target="../media/image10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11" Type="http://schemas.openxmlformats.org/officeDocument/2006/relationships/image" Target="../media/image38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7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40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12" Type="http://schemas.openxmlformats.org/officeDocument/2006/relationships/image" Target="../media/image3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11" Type="http://schemas.openxmlformats.org/officeDocument/2006/relationships/image" Target="../media/image130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10.png"/><Relationship Id="rId14" Type="http://schemas.openxmlformats.org/officeDocument/2006/relationships/image" Target="../media/image16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B9AFAC28-7AB0-439D-B9F3-E8A5C2AB37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A1B1942C-094C-4578-942B-FD6795DC6693}"/>
              </a:ext>
            </a:extLst>
          </p:cNvPr>
          <p:cNvSpPr/>
          <p:nvPr/>
        </p:nvSpPr>
        <p:spPr>
          <a:xfrm>
            <a:off x="1233488" y="1106871"/>
            <a:ext cx="5375696" cy="5375694"/>
          </a:xfrm>
          <a:prstGeom prst="ellipse">
            <a:avLst/>
          </a:prstGeom>
          <a:solidFill>
            <a:srgbClr val="A3DF3E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D181E2E-5747-4740-AB37-6A1717A26D5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7644"/>
          <a:stretch/>
        </p:blipFill>
        <p:spPr>
          <a:xfrm>
            <a:off x="10097060" y="567516"/>
            <a:ext cx="1491454" cy="384808"/>
          </a:xfrm>
          <a:prstGeom prst="rect">
            <a:avLst/>
          </a:prstGeom>
        </p:spPr>
      </p:pic>
      <p:sp>
        <p:nvSpPr>
          <p:cNvPr id="18" name="Arco 17">
            <a:extLst>
              <a:ext uri="{FF2B5EF4-FFF2-40B4-BE49-F238E27FC236}">
                <a16:creationId xmlns:a16="http://schemas.microsoft.com/office/drawing/2014/main" id="{827B4375-9670-4204-AF26-74E94AD6F0BE}"/>
              </a:ext>
            </a:extLst>
          </p:cNvPr>
          <p:cNvSpPr/>
          <p:nvPr/>
        </p:nvSpPr>
        <p:spPr>
          <a:xfrm>
            <a:off x="1134563" y="999470"/>
            <a:ext cx="5582022" cy="5582018"/>
          </a:xfrm>
          <a:prstGeom prst="arc">
            <a:avLst>
              <a:gd name="adj1" fmla="val 10331563"/>
              <a:gd name="adj2" fmla="val 9027974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09EF382B-2717-4816-9FB5-93B48E2BE776}"/>
              </a:ext>
            </a:extLst>
          </p:cNvPr>
          <p:cNvSpPr txBox="1"/>
          <p:nvPr/>
        </p:nvSpPr>
        <p:spPr>
          <a:xfrm>
            <a:off x="515718" y="3588743"/>
            <a:ext cx="6093466" cy="24776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100">
                <a:solidFill>
                  <a:schemeClr val="bg1"/>
                </a:solidFill>
                <a:latin typeface="Zooja Pro" panose="03060300040001000000" pitchFamily="66" charset="0"/>
              </a:rPr>
              <a:t>as </a:t>
            </a:r>
            <a:r>
              <a:rPr lang="en-US" sz="16100" err="1">
                <a:solidFill>
                  <a:schemeClr val="bg1"/>
                </a:solidFill>
                <a:latin typeface="Zooja Pro" panose="03060300040001000000" pitchFamily="66" charset="0"/>
              </a:rPr>
              <a:t>árvores</a:t>
            </a:r>
            <a:endParaRPr lang="pt-BR" sz="16100">
              <a:solidFill>
                <a:schemeClr val="bg1"/>
              </a:solidFill>
              <a:latin typeface="Zooja Pro" panose="03060300040001000000" pitchFamily="66" charset="0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D2DBA413-1467-4357-A4DC-1DC1A2D3EB2B}"/>
              </a:ext>
            </a:extLst>
          </p:cNvPr>
          <p:cNvSpPr txBox="1"/>
          <p:nvPr/>
        </p:nvSpPr>
        <p:spPr>
          <a:xfrm>
            <a:off x="1489709" y="3236588"/>
            <a:ext cx="44275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>
                <a:latin typeface="Suzano Sans" panose="02010503030508060203" pitchFamily="2" charset="0"/>
                <a:ea typeface="Source Sans Pro" panose="020B0503030403020204" pitchFamily="34" charset="0"/>
              </a:rPr>
              <a:t>Nós plantamos o futuro a partir daquilo que mais conhecemos: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30E1FBCD-A993-49A8-A7CA-EE082F83B62D}"/>
              </a:ext>
            </a:extLst>
          </p:cNvPr>
          <p:cNvSpPr txBox="1"/>
          <p:nvPr/>
        </p:nvSpPr>
        <p:spPr>
          <a:xfrm>
            <a:off x="1489709" y="2798948"/>
            <a:ext cx="44275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>
                <a:solidFill>
                  <a:schemeClr val="bg1"/>
                </a:solidFill>
                <a:latin typeface="Suzano Sans" panose="02010503030508060203" pitchFamily="2" charset="0"/>
                <a:ea typeface="Source Sans Pro" panose="020B0503030403020204" pitchFamily="34" charset="0"/>
              </a:rPr>
              <a:t>Prazer, somos a Suzano</a:t>
            </a:r>
          </a:p>
        </p:txBody>
      </p:sp>
    </p:spTree>
    <p:extLst>
      <p:ext uri="{BB962C8B-B14F-4D97-AF65-F5344CB8AC3E}">
        <p14:creationId xmlns:p14="http://schemas.microsoft.com/office/powerpoint/2010/main" val="1363286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0.15649 L -2.29167E-6 4.44444E-6 " pathEditMode="relative" rAng="0" ptsTypes="AA">
                                      <p:cBhvr>
                                        <p:cTn id="9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82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accel="49333" decel="5066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4.16667E-6 -1.11111E-6 L 0.12382 -1.11111E-6 " pathEditMode="relative" rAng="0" ptsTypes="AA">
                                      <p:cBhvr>
                                        <p:cTn id="22" dur="10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85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8" presetClass="entr" presetSubtype="12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4.16667E-6 3.7037E-6 L 0.12382 3.7037E-6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8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 animBg="1"/>
      <p:bldP spid="19" grpId="0"/>
      <p:bldP spid="20" grpId="0"/>
      <p:bldP spid="20" grpId="1"/>
      <p:bldP spid="12" grpId="0"/>
      <p:bldP spid="12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3E217E8-0C10-479C-9BC1-988E710D3C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78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pic>
        <p:nvPicPr>
          <p:cNvPr id="3" name="Imagem 2" descr="Uma imagem contendo mapa, texto&#10;&#10;Descrição gerada automaticamente">
            <a:extLst>
              <a:ext uri="{FF2B5EF4-FFF2-40B4-BE49-F238E27FC236}">
                <a16:creationId xmlns:a16="http://schemas.microsoft.com/office/drawing/2014/main" id="{736B0620-734F-4F0D-B806-A8FFD35E9D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/>
              <p:nvPr/>
            </p:nvSpPr>
            <p:spPr>
              <a:xfrm>
                <a:off x="3225263" y="750432"/>
                <a:ext cx="17478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pt-BR" b="0" i="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=2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func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5263" y="750432"/>
                <a:ext cx="1747851" cy="276999"/>
              </a:xfrm>
              <a:prstGeom prst="rect">
                <a:avLst/>
              </a:prstGeom>
              <a:blipFill>
                <a:blip r:embed="rId10"/>
                <a:stretch>
                  <a:fillRect l="-1394" t="-2174" r="-3833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77F0931F-2BD9-409D-82B1-D94BF0E0B122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32439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DF13340-E303-4D3A-BB44-C36C523C4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65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/>
              <p:nvPr/>
            </p:nvSpPr>
            <p:spPr>
              <a:xfrm>
                <a:off x="3145612" y="867621"/>
                <a:ext cx="129259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i="1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+5</m:t>
                      </m:r>
                      <m:r>
                        <a:rPr lang="pt-BR" i="1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45612" y="867621"/>
                <a:ext cx="1292598" cy="276999"/>
              </a:xfrm>
              <a:prstGeom prst="rect">
                <a:avLst/>
              </a:prstGeom>
              <a:blipFill>
                <a:blip r:embed="rId9"/>
                <a:stretch>
                  <a:fillRect l="-3774" t="-2174" r="-5660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Imagem 1" descr="Uma imagem contendo mapa&#10;&#10;Descrição gerada automaticamente">
            <a:extLst>
              <a:ext uri="{FF2B5EF4-FFF2-40B4-BE49-F238E27FC236}">
                <a16:creationId xmlns:a16="http://schemas.microsoft.com/office/drawing/2014/main" id="{B8398CD3-64A2-4FD2-87ED-7C9473A4743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4D773A64-771A-4883-97FC-AD590883B547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2E354181-1DFE-47B5-9915-162F4DA06417}"/>
                  </a:ext>
                </a:extLst>
              </p:cNvPr>
              <p:cNvSpPr txBox="1"/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10</a:t>
                </a:r>
              </a:p>
            </p:txBody>
          </p:sp>
        </mc:Choice>
        <mc:Fallback xmlns="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2E354181-1DFE-47B5-9915-162F4DA064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blipFill>
                <a:blip r:embed="rId11"/>
                <a:stretch>
                  <a:fillRect l="-14000" t="-28889" r="-23000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193844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015A956B-6991-4EAA-91E8-DD5B292D1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33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/>
              <p:nvPr/>
            </p:nvSpPr>
            <p:spPr>
              <a:xfrm>
                <a:off x="3225263" y="750432"/>
                <a:ext cx="17478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pt-BR" b="0" i="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=2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func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5263" y="750432"/>
                <a:ext cx="1747851" cy="276999"/>
              </a:xfrm>
              <a:prstGeom prst="rect">
                <a:avLst/>
              </a:prstGeom>
              <a:blipFill>
                <a:blip r:embed="rId9"/>
                <a:stretch>
                  <a:fillRect l="-1394" t="-2174" r="-3833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Imagem 1" descr="Uma imagem contendo mapa&#10;&#10;Descrição gerada automaticamente">
            <a:extLst>
              <a:ext uri="{FF2B5EF4-FFF2-40B4-BE49-F238E27FC236}">
                <a16:creationId xmlns:a16="http://schemas.microsoft.com/office/drawing/2014/main" id="{A5CFC0C1-4448-4570-89F9-A546E9AA64F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5323C16A-B456-4BDB-AE2F-5179867F1085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C91E9D53-0F73-4C4A-A293-8057AC90EB68}"/>
                  </a:ext>
                </a:extLst>
              </p:cNvPr>
              <p:cNvSpPr txBox="1"/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10</a:t>
                </a:r>
              </a:p>
            </p:txBody>
          </p:sp>
        </mc:Choice>
        <mc:Fallback xmlns="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C91E9D53-0F73-4C4A-A293-8057AC90EB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blipFill>
                <a:blip r:embed="rId11"/>
                <a:stretch>
                  <a:fillRect l="-14000" t="-28889" r="-23000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03D5444C-796A-4B10-8938-D30BEB576845}"/>
                  </a:ext>
                </a:extLst>
              </p:cNvPr>
              <p:cNvSpPr txBox="1"/>
              <p:nvPr/>
            </p:nvSpPr>
            <p:spPr>
              <a:xfrm>
                <a:off x="6622125" y="4565103"/>
                <a:ext cx="61318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20</a:t>
                </a: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03D5444C-796A-4B10-8938-D30BEB5768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2125" y="4565103"/>
                <a:ext cx="613181" cy="276999"/>
              </a:xfrm>
              <a:prstGeom prst="rect">
                <a:avLst/>
              </a:prstGeom>
              <a:blipFill>
                <a:blip r:embed="rId12"/>
                <a:stretch>
                  <a:fillRect l="-12871" t="-28889" r="-22772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50782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D327EB5-DCEC-4ADE-8266-3B886DE086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70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 descr="Uma imagem contendo mapa&#10;&#10;Descrição gerada automaticamente">
            <a:extLst>
              <a:ext uri="{FF2B5EF4-FFF2-40B4-BE49-F238E27FC236}">
                <a16:creationId xmlns:a16="http://schemas.microsoft.com/office/drawing/2014/main" id="{712F7DC1-8439-4382-A4FF-18F4CFB115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/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10</a:t>
                </a:r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080" y="4918312"/>
                <a:ext cx="613181" cy="276999"/>
              </a:xfrm>
              <a:prstGeom prst="rect">
                <a:avLst/>
              </a:prstGeom>
              <a:blipFill>
                <a:blip r:embed="rId10"/>
                <a:stretch>
                  <a:fillRect l="-14000" t="-28889" r="-23000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C6070501-B1D2-4AD6-ADD0-699D084D5255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E748C909-EC79-408A-B251-B58DE71C84BD}"/>
                  </a:ext>
                </a:extLst>
              </p:cNvPr>
              <p:cNvSpPr txBox="1"/>
              <p:nvPr/>
            </p:nvSpPr>
            <p:spPr>
              <a:xfrm>
                <a:off x="6622125" y="4565103"/>
                <a:ext cx="75264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20</m:t>
                      </m:r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E748C909-EC79-408A-B251-B58DE71C84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2125" y="4565103"/>
                <a:ext cx="752642" cy="276999"/>
              </a:xfrm>
              <a:prstGeom prst="rect">
                <a:avLst/>
              </a:prstGeom>
              <a:blipFill>
                <a:blip r:embed="rId11"/>
                <a:stretch>
                  <a:fillRect l="-6452" r="-7258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8B16094-9821-496B-A8E1-6FF4DE13FEF2}"/>
                  </a:ext>
                </a:extLst>
              </p:cNvPr>
              <p:cNvSpPr txBox="1"/>
              <p:nvPr/>
            </p:nvSpPr>
            <p:spPr>
              <a:xfrm>
                <a:off x="7463014" y="4039771"/>
                <a:ext cx="61318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30</a:t>
                </a: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8B16094-9821-496B-A8E1-6FF4DE13FE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63014" y="4039771"/>
                <a:ext cx="613181" cy="276999"/>
              </a:xfrm>
              <a:prstGeom prst="rect">
                <a:avLst/>
              </a:prstGeom>
              <a:blipFill>
                <a:blip r:embed="rId12"/>
                <a:stretch>
                  <a:fillRect l="-12871" t="-28889" r="-22772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Elipse 11">
            <a:extLst>
              <a:ext uri="{FF2B5EF4-FFF2-40B4-BE49-F238E27FC236}">
                <a16:creationId xmlns:a16="http://schemas.microsoft.com/office/drawing/2014/main" id="{298A19CF-8659-45F7-AFFB-4E79D172C69B}"/>
              </a:ext>
            </a:extLst>
          </p:cNvPr>
          <p:cNvSpPr/>
          <p:nvPr/>
        </p:nvSpPr>
        <p:spPr>
          <a:xfrm>
            <a:off x="3938550" y="3616443"/>
            <a:ext cx="160638" cy="17402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4A40722-6357-4820-BB92-C11CDB6D0F69}"/>
              </a:ext>
            </a:extLst>
          </p:cNvPr>
          <p:cNvSpPr txBox="1"/>
          <p:nvPr/>
        </p:nvSpPr>
        <p:spPr>
          <a:xfrm>
            <a:off x="3486120" y="1158410"/>
            <a:ext cx="4397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Ponto Ótimo </a:t>
            </a:r>
            <a:r>
              <a:rPr lang="pt-BR" b="1"/>
              <a:t>x = 1.6 e y= 4.8</a:t>
            </a:r>
            <a:r>
              <a:rPr lang="pt-BR"/>
              <a:t>, com </a:t>
            </a:r>
            <a:r>
              <a:rPr lang="pt-BR" b="1"/>
              <a:t>lucro 27.2</a:t>
            </a:r>
            <a:r>
              <a:rPr lang="pt-BR"/>
              <a:t> </a:t>
            </a:r>
            <a:endParaRPr lang="pt-BR" b="1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24BBD8A3-5A60-48AC-9421-ECED1B73EC0A}"/>
              </a:ext>
            </a:extLst>
          </p:cNvPr>
          <p:cNvSpPr/>
          <p:nvPr/>
        </p:nvSpPr>
        <p:spPr>
          <a:xfrm>
            <a:off x="5211080" y="5294809"/>
            <a:ext cx="160638" cy="174025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ED1ED330-E54D-4B5E-A50C-4317B62C3BA6}"/>
              </a:ext>
            </a:extLst>
          </p:cNvPr>
          <p:cNvSpPr/>
          <p:nvPr/>
        </p:nvSpPr>
        <p:spPr>
          <a:xfrm>
            <a:off x="3021855" y="3145072"/>
            <a:ext cx="160638" cy="174025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063ED64A-C234-4C34-B97B-6AC31888677D}"/>
              </a:ext>
            </a:extLst>
          </p:cNvPr>
          <p:cNvSpPr/>
          <p:nvPr/>
        </p:nvSpPr>
        <p:spPr>
          <a:xfrm>
            <a:off x="3021855" y="5237732"/>
            <a:ext cx="160638" cy="174025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9D464FC9-4F87-4F21-A7F5-1834F66E4271}"/>
              </a:ext>
            </a:extLst>
          </p:cNvPr>
          <p:cNvSpPr/>
          <p:nvPr/>
        </p:nvSpPr>
        <p:spPr>
          <a:xfrm>
            <a:off x="9433802" y="1874368"/>
            <a:ext cx="160638" cy="174025"/>
          </a:xfrm>
          <a:prstGeom prst="ellipse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E4AA3083-C915-451A-B102-AD4614496306}"/>
              </a:ext>
            </a:extLst>
          </p:cNvPr>
          <p:cNvSpPr txBox="1"/>
          <p:nvPr/>
        </p:nvSpPr>
        <p:spPr>
          <a:xfrm>
            <a:off x="9680502" y="1759143"/>
            <a:ext cx="228593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É possível provar matematicamente que para </a:t>
            </a:r>
            <a:r>
              <a:rPr lang="pt-BR" b="1"/>
              <a:t>PROBLEMAS LINEARES </a:t>
            </a:r>
            <a:r>
              <a:rPr lang="pt-BR"/>
              <a:t>o ponto ótimo sempre estará “em cima” de uma restrição</a:t>
            </a:r>
            <a:endParaRPr lang="pt-BR" b="1"/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05A21A44-B44A-4B51-A537-31E62CFE23D8}"/>
              </a:ext>
            </a:extLst>
          </p:cNvPr>
          <p:cNvSpPr txBox="1"/>
          <p:nvPr/>
        </p:nvSpPr>
        <p:spPr>
          <a:xfrm>
            <a:off x="9751041" y="4504658"/>
            <a:ext cx="228593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/>
              <a:t>PROBLEMAS LINEARES </a:t>
            </a:r>
            <a:r>
              <a:rPr lang="pt-BR"/>
              <a:t>são facilmente resolvíveis e a solução encontrada é o </a:t>
            </a:r>
            <a:r>
              <a:rPr lang="pt-BR" b="1"/>
              <a:t>ÓTIMO GLOBAL</a:t>
            </a:r>
          </a:p>
        </p:txBody>
      </p:sp>
      <p:cxnSp>
        <p:nvCxnSpPr>
          <p:cNvPr id="24" name="Conector de Seta Reta 23">
            <a:extLst>
              <a:ext uri="{FF2B5EF4-FFF2-40B4-BE49-F238E27FC236}">
                <a16:creationId xmlns:a16="http://schemas.microsoft.com/office/drawing/2014/main" id="{D07AFE27-8E6C-4E28-971A-8B464FCE6328}"/>
              </a:ext>
            </a:extLst>
          </p:cNvPr>
          <p:cNvCxnSpPr>
            <a:cxnSpLocks/>
          </p:cNvCxnSpPr>
          <p:nvPr/>
        </p:nvCxnSpPr>
        <p:spPr>
          <a:xfrm>
            <a:off x="10747843" y="3703455"/>
            <a:ext cx="0" cy="80120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ângulo 28">
            <a:extLst>
              <a:ext uri="{FF2B5EF4-FFF2-40B4-BE49-F238E27FC236}">
                <a16:creationId xmlns:a16="http://schemas.microsoft.com/office/drawing/2014/main" id="{775C8A0A-CCE3-4605-ACE4-2FE8A3861CE0}"/>
              </a:ext>
            </a:extLst>
          </p:cNvPr>
          <p:cNvSpPr/>
          <p:nvPr/>
        </p:nvSpPr>
        <p:spPr>
          <a:xfrm>
            <a:off x="10102385" y="3878498"/>
            <a:ext cx="1290915" cy="432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/>
              <a:t>Algoritmo </a:t>
            </a:r>
            <a:r>
              <a:rPr lang="pt-BR"/>
              <a:t>SIMPLEX</a:t>
            </a:r>
          </a:p>
        </p:txBody>
      </p:sp>
    </p:spTree>
    <p:extLst>
      <p:ext uri="{BB962C8B-B14F-4D97-AF65-F5344CB8AC3E}">
        <p14:creationId xmlns:p14="http://schemas.microsoft.com/office/powerpoint/2010/main" val="25780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/>
      <p:bldP spid="2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02511B4D-F6F3-4E29-BCEC-89BDB2F124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891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 descr="Uma imagem contendo mapa&#10;&#10;Descrição gerada automaticamente">
            <a:extLst>
              <a:ext uri="{FF2B5EF4-FFF2-40B4-BE49-F238E27FC236}">
                <a16:creationId xmlns:a16="http://schemas.microsoft.com/office/drawing/2014/main" id="{712F7DC1-8439-4382-A4FF-18F4CFB115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/>
              <p:nvPr/>
            </p:nvSpPr>
            <p:spPr>
              <a:xfrm>
                <a:off x="5211080" y="4918312"/>
                <a:ext cx="62440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2</m:t>
                      </m:r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4" name="CaixaDeTexto 3">
                <a:extLst>
                  <a:ext uri="{FF2B5EF4-FFF2-40B4-BE49-F238E27FC236}">
                    <a16:creationId xmlns:a16="http://schemas.microsoft.com/office/drawing/2014/main" id="{0B4575CC-D0A2-4068-A687-93BCBDB37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080" y="4918312"/>
                <a:ext cx="624402" cy="276999"/>
              </a:xfrm>
              <a:prstGeom prst="rect">
                <a:avLst/>
              </a:prstGeom>
              <a:blipFill>
                <a:blip r:embed="rId10"/>
                <a:stretch>
                  <a:fillRect l="-8824" r="-8824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C6070501-B1D2-4AD6-ADD0-699D084D5255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E748C909-EC79-408A-B251-B58DE71C84BD}"/>
                  </a:ext>
                </a:extLst>
              </p:cNvPr>
              <p:cNvSpPr txBox="1"/>
              <p:nvPr/>
            </p:nvSpPr>
            <p:spPr>
              <a:xfrm>
                <a:off x="6622125" y="4565103"/>
                <a:ext cx="49616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4</a:t>
                </a:r>
              </a:p>
            </p:txBody>
          </p:sp>
        </mc:Choice>
        <mc:Fallback xmlns="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E748C909-EC79-408A-B251-B58DE71C84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2125" y="4565103"/>
                <a:ext cx="496161" cy="276999"/>
              </a:xfrm>
              <a:prstGeom prst="rect">
                <a:avLst/>
              </a:prstGeom>
              <a:blipFill>
                <a:blip r:embed="rId11"/>
                <a:stretch>
                  <a:fillRect l="-15854" t="-28889" r="-28049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8B16094-9821-496B-A8E1-6FF4DE13FEF2}"/>
                  </a:ext>
                </a:extLst>
              </p:cNvPr>
              <p:cNvSpPr txBox="1"/>
              <p:nvPr/>
            </p:nvSpPr>
            <p:spPr>
              <a:xfrm>
                <a:off x="7463014" y="4039771"/>
                <a:ext cx="49616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pt-BR"/>
                  <a:t>6</a:t>
                </a: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8B16094-9821-496B-A8E1-6FF4DE13FE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63014" y="4039771"/>
                <a:ext cx="496161" cy="276999"/>
              </a:xfrm>
              <a:prstGeom prst="rect">
                <a:avLst/>
              </a:prstGeom>
              <a:blipFill>
                <a:blip r:embed="rId12"/>
                <a:stretch>
                  <a:fillRect l="-15854" t="-28889" r="-28049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Elipse 11">
            <a:extLst>
              <a:ext uri="{FF2B5EF4-FFF2-40B4-BE49-F238E27FC236}">
                <a16:creationId xmlns:a16="http://schemas.microsoft.com/office/drawing/2014/main" id="{298A19CF-8659-45F7-AFFB-4E79D172C69B}"/>
              </a:ext>
            </a:extLst>
          </p:cNvPr>
          <p:cNvSpPr/>
          <p:nvPr/>
        </p:nvSpPr>
        <p:spPr>
          <a:xfrm>
            <a:off x="3938550" y="3616443"/>
            <a:ext cx="160638" cy="17402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4A40722-6357-4820-BB92-C11CDB6D0F69}"/>
              </a:ext>
            </a:extLst>
          </p:cNvPr>
          <p:cNvSpPr txBox="1"/>
          <p:nvPr/>
        </p:nvSpPr>
        <p:spPr>
          <a:xfrm>
            <a:off x="3486120" y="1158410"/>
            <a:ext cx="4397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Ponto Ótimo </a:t>
            </a:r>
            <a:r>
              <a:rPr lang="pt-BR" b="1"/>
              <a:t>x = 1.6 e y= 4.8</a:t>
            </a:r>
            <a:r>
              <a:rPr lang="pt-BR"/>
              <a:t>, com </a:t>
            </a:r>
            <a:r>
              <a:rPr lang="pt-BR" b="1"/>
              <a:t>lucro 27.2</a:t>
            </a:r>
            <a:r>
              <a:rPr lang="pt-BR"/>
              <a:t> </a:t>
            </a:r>
            <a:endParaRPr lang="pt-BR" b="1"/>
          </a:p>
        </p:txBody>
      </p:sp>
      <p:pic>
        <p:nvPicPr>
          <p:cNvPr id="14" name="Picture 8" descr="Chocolate Lolo Nestlé Caixa C/ 30 Unidades !!! | Mercado Livre">
            <a:extLst>
              <a:ext uri="{FF2B5EF4-FFF2-40B4-BE49-F238E27FC236}">
                <a16:creationId xmlns:a16="http://schemas.microsoft.com/office/drawing/2014/main" id="{65BDD2BC-4CFE-4E32-AF21-1372C9682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8155" y="3671740"/>
            <a:ext cx="1128930" cy="73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Chocolate Lolo Nestlé Caixa C/ 30 Unidades !!! | Mercado Livre">
            <a:extLst>
              <a:ext uri="{FF2B5EF4-FFF2-40B4-BE49-F238E27FC236}">
                <a16:creationId xmlns:a16="http://schemas.microsoft.com/office/drawing/2014/main" id="{00B451EA-58D2-4DF3-9755-1F61BF0DAD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7672" y="3636778"/>
            <a:ext cx="1128930" cy="73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áfico 4" descr="Serra">
            <a:extLst>
              <a:ext uri="{FF2B5EF4-FFF2-40B4-BE49-F238E27FC236}">
                <a16:creationId xmlns:a16="http://schemas.microsoft.com/office/drawing/2014/main" id="{7BFE284E-6877-4990-9DB8-E4F2B6DB76C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385171">
            <a:off x="10469746" y="2790605"/>
            <a:ext cx="914400" cy="914400"/>
          </a:xfrm>
          <a:prstGeom prst="rect">
            <a:avLst/>
          </a:prstGeom>
        </p:spPr>
      </p:pic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A5C4D2CD-1473-4EFD-858B-49BA5B11D570}"/>
              </a:ext>
            </a:extLst>
          </p:cNvPr>
          <p:cNvCxnSpPr/>
          <p:nvPr/>
        </p:nvCxnSpPr>
        <p:spPr>
          <a:xfrm flipV="1">
            <a:off x="11304965" y="3288618"/>
            <a:ext cx="0" cy="131888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40389C5-3A21-4F4B-90E4-10E940FAF8C8}"/>
              </a:ext>
            </a:extLst>
          </p:cNvPr>
          <p:cNvSpPr txBox="1"/>
          <p:nvPr/>
        </p:nvSpPr>
        <p:spPr>
          <a:xfrm>
            <a:off x="9104213" y="2106672"/>
            <a:ext cx="2821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>
                <a:solidFill>
                  <a:srgbClr val="FF0000"/>
                </a:solidFill>
              </a:rPr>
              <a:t>Mas como eu vou implantar a solução ótima??????</a:t>
            </a:r>
            <a:endParaRPr lang="pt-BR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98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58F62BD-88DB-4601-971E-9E8C20EBEA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01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1837D4BB-50FC-A54F-89EE-C7B63732C9E4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Qual é minha região viável de fato??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pic>
        <p:nvPicPr>
          <p:cNvPr id="2" name="Imagem 1" descr="Mapa com linhas coloridas&#10;&#10;Descrição gerada automaticamente">
            <a:extLst>
              <a:ext uri="{FF2B5EF4-FFF2-40B4-BE49-F238E27FC236}">
                <a16:creationId xmlns:a16="http://schemas.microsoft.com/office/drawing/2014/main" id="{F28ED7F5-1BF1-45FF-8C26-1F85C99E89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91A9ACE5-310F-4571-A0E5-9B947FB21D31}"/>
              </a:ext>
            </a:extLst>
          </p:cNvPr>
          <p:cNvSpPr/>
          <p:nvPr/>
        </p:nvSpPr>
        <p:spPr>
          <a:xfrm>
            <a:off x="9433802" y="1874368"/>
            <a:ext cx="160638" cy="174025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CDD6355A-5793-4383-AE96-D68D53FC3825}"/>
              </a:ext>
            </a:extLst>
          </p:cNvPr>
          <p:cNvSpPr txBox="1"/>
          <p:nvPr/>
        </p:nvSpPr>
        <p:spPr>
          <a:xfrm>
            <a:off x="9680502" y="1759143"/>
            <a:ext cx="228593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Espaço viável é </a:t>
            </a:r>
            <a:r>
              <a:rPr lang="pt-BR" b="1"/>
              <a:t>DISCRETO</a:t>
            </a:r>
            <a:r>
              <a:rPr lang="pt-BR"/>
              <a:t>, apenas os pontos vermelhos são viáveis... O resto da região cinza não é viável!</a:t>
            </a:r>
            <a:endParaRPr lang="pt-BR" b="1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D0F9B64-67BF-404E-970A-05DC05D31FD6}"/>
              </a:ext>
            </a:extLst>
          </p:cNvPr>
          <p:cNvSpPr txBox="1"/>
          <p:nvPr/>
        </p:nvSpPr>
        <p:spPr>
          <a:xfrm>
            <a:off x="9751041" y="4504658"/>
            <a:ext cx="22859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>
                <a:solidFill>
                  <a:srgbClr val="FF0000"/>
                </a:solidFill>
              </a:rPr>
              <a:t>SIMPLEX não consegue mais achar o ótimo global....</a:t>
            </a:r>
          </a:p>
        </p:txBody>
      </p: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4E330ABF-F9EF-4189-A7E4-0134278E82FF}"/>
              </a:ext>
            </a:extLst>
          </p:cNvPr>
          <p:cNvCxnSpPr>
            <a:cxnSpLocks/>
          </p:cNvCxnSpPr>
          <p:nvPr/>
        </p:nvCxnSpPr>
        <p:spPr>
          <a:xfrm>
            <a:off x="10747843" y="3703455"/>
            <a:ext cx="0" cy="80120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1C55D1E0-5019-4F57-BBC1-1541F53359F5}"/>
              </a:ext>
            </a:extLst>
          </p:cNvPr>
          <p:cNvSpPr txBox="1"/>
          <p:nvPr/>
        </p:nvSpPr>
        <p:spPr>
          <a:xfrm>
            <a:off x="3872891" y="1073242"/>
            <a:ext cx="4446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>
                <a:solidFill>
                  <a:srgbClr val="FF0000"/>
                </a:solidFill>
              </a:rPr>
              <a:t>Vamos impor que X e Y devem ser INTEIROS!</a:t>
            </a:r>
            <a:endParaRPr lang="pt-BR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993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251C137-E837-C044-9F5F-7609DF6F30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5DC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4359060-FAA5-7649-9E3D-3565DDF049A5}"/>
              </a:ext>
            </a:extLst>
          </p:cNvPr>
          <p:cNvSpPr txBox="1">
            <a:spLocks/>
          </p:cNvSpPr>
          <p:nvPr/>
        </p:nvSpPr>
        <p:spPr>
          <a:xfrm>
            <a:off x="6680139" y="2477199"/>
            <a:ext cx="5038846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7020"/>
              </a:lnSpc>
              <a:buNone/>
            </a:pPr>
            <a:endParaRPr lang="pt-BR" sz="7200" b="1">
              <a:solidFill>
                <a:schemeClr val="tx1"/>
              </a:solidFill>
              <a:latin typeface="Abad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A566E1-23B2-E448-BEAF-E5B7E32523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FC20E261-A244-514D-BAC0-5B5E60F0798F}"/>
              </a:ext>
            </a:extLst>
          </p:cNvPr>
          <p:cNvSpPr txBox="1">
            <a:spLocks/>
          </p:cNvSpPr>
          <p:nvPr/>
        </p:nvSpPr>
        <p:spPr>
          <a:xfrm>
            <a:off x="7442202" y="4468269"/>
            <a:ext cx="4276784" cy="1370657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t-BR" sz="3200">
                <a:solidFill>
                  <a:schemeClr val="tx1"/>
                </a:solidFill>
                <a:latin typeface="Suzano Sans" panose="02010503030508060203" pitchFamily="2" charset="0"/>
              </a:rPr>
              <a:t>2021</a:t>
            </a:r>
            <a:endParaRPr lang="en-US" sz="3200">
              <a:solidFill>
                <a:schemeClr val="tx1"/>
              </a:solidFill>
              <a:latin typeface="Suzano Sans" panose="02010503030508060203" pitchFamily="2" charset="0"/>
            </a:endParaRPr>
          </a:p>
        </p:txBody>
      </p:sp>
      <p:sp>
        <p:nvSpPr>
          <p:cNvPr id="11" name="Espaço Reservado para Texto 3">
            <a:extLst>
              <a:ext uri="{FF2B5EF4-FFF2-40B4-BE49-F238E27FC236}">
                <a16:creationId xmlns:a16="http://schemas.microsoft.com/office/drawing/2014/main" id="{BFD7A8F4-B10D-EF41-BBB1-DA3F1227E157}"/>
              </a:ext>
            </a:extLst>
          </p:cNvPr>
          <p:cNvSpPr txBox="1">
            <a:spLocks/>
          </p:cNvSpPr>
          <p:nvPr/>
        </p:nvSpPr>
        <p:spPr>
          <a:xfrm>
            <a:off x="4671932" y="1988650"/>
            <a:ext cx="7047053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6080"/>
              </a:lnSpc>
              <a:buNone/>
            </a:pPr>
            <a:r>
              <a:rPr lang="pt-BR" sz="6000" b="1" dirty="0">
                <a:solidFill>
                  <a:schemeClr val="tx1"/>
                </a:solidFill>
                <a:latin typeface="Suzano Sans" panose="02010503030508060203" pitchFamily="2" charset="77"/>
              </a:rPr>
              <a:t>Caso SmartExecution</a:t>
            </a:r>
            <a:endParaRPr lang="en-US" sz="6000" b="1" dirty="0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4312E95-ACD5-C64E-868E-746FD6B00A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32437"/>
            <a:ext cx="11899900" cy="546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AB6397-1B47-4C46-ACA1-D63D051878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6934" y="5683004"/>
            <a:ext cx="2496272" cy="11701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13ADE5-1586-0144-AD65-9E0853FF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03268" y="471671"/>
            <a:ext cx="4775200" cy="4737100"/>
          </a:xfrm>
          <a:prstGeom prst="rect">
            <a:avLst/>
          </a:prstGeom>
        </p:spPr>
      </p:pic>
      <p:sp>
        <p:nvSpPr>
          <p:cNvPr id="13" name="Espaço Reservado para Texto 3">
            <a:extLst>
              <a:ext uri="{FF2B5EF4-FFF2-40B4-BE49-F238E27FC236}">
                <a16:creationId xmlns:a16="http://schemas.microsoft.com/office/drawing/2014/main" id="{C5F3A642-A5EF-49FC-8F8F-AA81D8F7EBD8}"/>
              </a:ext>
            </a:extLst>
          </p:cNvPr>
          <p:cNvSpPr txBox="1">
            <a:spLocks/>
          </p:cNvSpPr>
          <p:nvPr/>
        </p:nvSpPr>
        <p:spPr>
          <a:xfrm>
            <a:off x="6072849" y="1500101"/>
            <a:ext cx="5622985" cy="40227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22EDCFE5-42F6-4B56-95B4-A641A44D0BC5}" type="datetime4">
              <a:rPr lang="pt-BR" sz="1400" smtClean="0">
                <a:solidFill>
                  <a:schemeClr val="tx1"/>
                </a:solidFill>
                <a:latin typeface="Suzano Sans Thin" panose="02010403030508060203" pitchFamily="2" charset="77"/>
              </a:rPr>
              <a:t>22 de novembro de 2021</a:t>
            </a:fld>
            <a:endParaRPr lang="en-US" sz="14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16" name="Graphic 12">
            <a:extLst>
              <a:ext uri="{FF2B5EF4-FFF2-40B4-BE49-F238E27FC236}">
                <a16:creationId xmlns:a16="http://schemas.microsoft.com/office/drawing/2014/main" id="{3C70FD8C-D406-47DA-9658-016DB95AF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6444" y="1030303"/>
            <a:ext cx="499815" cy="49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>
            <a:extLst>
              <a:ext uri="{FF2B5EF4-FFF2-40B4-BE49-F238E27FC236}">
                <a16:creationId xmlns:a16="http://schemas.microsoft.com/office/drawing/2014/main" id="{07F9CD99-7C74-4B69-ACB7-536AB9DC0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778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32" name="Objeto 31" hidden="1">
                        <a:extLst>
                          <a:ext uri="{FF2B5EF4-FFF2-40B4-BE49-F238E27FC236}">
                            <a16:creationId xmlns:a16="http://schemas.microsoft.com/office/drawing/2014/main" id="{07F9CD99-7C74-4B69-ACB7-536AB9DC0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tângulo 59">
            <a:extLst>
              <a:ext uri="{FF2B5EF4-FFF2-40B4-BE49-F238E27FC236}">
                <a16:creationId xmlns:a16="http://schemas.microsoft.com/office/drawing/2014/main" id="{ED457E3C-149B-4FDD-9C1C-7DD0B4AB5B1B}"/>
              </a:ext>
            </a:extLst>
          </p:cNvPr>
          <p:cNvSpPr/>
          <p:nvPr/>
        </p:nvSpPr>
        <p:spPr>
          <a:xfrm>
            <a:off x="0" y="1487859"/>
            <a:ext cx="12192000" cy="399997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Texto 3">
            <a:extLst>
              <a:ext uri="{FF2B5EF4-FFF2-40B4-BE49-F238E27FC236}">
                <a16:creationId xmlns:a16="http://schemas.microsoft.com/office/drawing/2014/main" id="{12001AB9-3B51-45AB-9576-0A2296F291CF}"/>
              </a:ext>
            </a:extLst>
          </p:cNvPr>
          <p:cNvSpPr txBox="1">
            <a:spLocks/>
          </p:cNvSpPr>
          <p:nvPr/>
        </p:nvSpPr>
        <p:spPr>
          <a:xfrm>
            <a:off x="324622" y="149739"/>
            <a:ext cx="9171070" cy="546100"/>
          </a:xfrm>
          <a:prstGeom prst="rect">
            <a:avLst/>
          </a:prstGeom>
        </p:spPr>
        <p:txBody>
          <a:bodyPr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E5DC1F"/>
                </a:solidFill>
                <a:effectLst/>
                <a:uLnTx/>
                <a:uFillTx/>
                <a:latin typeface="Suzano Sans" panose="02010503030508060203" pitchFamily="2" charset="77"/>
              </a:rPr>
              <a:t>DESENHO DO PROCESSO - DEMO</a:t>
            </a: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BFBFD7A3-95C1-454C-95EA-106512848B7F}"/>
              </a:ext>
            </a:extLst>
          </p:cNvPr>
          <p:cNvPicPr>
            <a:picLocks noChangeAspect="1"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3514530" y="2761506"/>
            <a:ext cx="1473455" cy="1596243"/>
          </a:xfrm>
          <a:prstGeom prst="rect">
            <a:avLst/>
          </a:prstGeom>
        </p:spPr>
      </p:pic>
      <p:pic>
        <p:nvPicPr>
          <p:cNvPr id="38" name="Imagem 37">
            <a:extLst>
              <a:ext uri="{FF2B5EF4-FFF2-40B4-BE49-F238E27FC236}">
                <a16:creationId xmlns:a16="http://schemas.microsoft.com/office/drawing/2014/main" id="{7C7254D8-B193-4856-8BC1-D67E131DB5C4}"/>
              </a:ext>
            </a:extLst>
          </p:cNvPr>
          <p:cNvPicPr>
            <a:picLocks noChangeAspect="1"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5170716" y="2761506"/>
            <a:ext cx="1473455" cy="1596243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4F7CF63E-2CA5-4020-BDF9-16B3C25317AB}"/>
              </a:ext>
            </a:extLst>
          </p:cNvPr>
          <p:cNvPicPr>
            <a:picLocks noChangeAspect="1"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6850744" y="2761505"/>
            <a:ext cx="1473455" cy="1596243"/>
          </a:xfrm>
          <a:prstGeom prst="rect">
            <a:avLst/>
          </a:prstGeom>
        </p:spPr>
      </p:pic>
      <p:sp>
        <p:nvSpPr>
          <p:cNvPr id="46" name="CaixaDeTexto 45">
            <a:extLst>
              <a:ext uri="{FF2B5EF4-FFF2-40B4-BE49-F238E27FC236}">
                <a16:creationId xmlns:a16="http://schemas.microsoft.com/office/drawing/2014/main" id="{62A11134-E4CE-4637-997F-E46462647FFE}"/>
              </a:ext>
            </a:extLst>
          </p:cNvPr>
          <p:cNvSpPr txBox="1"/>
          <p:nvPr/>
        </p:nvSpPr>
        <p:spPr>
          <a:xfrm>
            <a:off x="324622" y="856343"/>
            <a:ext cx="9312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>
                    <a:lumMod val="95000"/>
                  </a:schemeClr>
                </a:solidFill>
              </a:rPr>
              <a:t>A ruptura é quando termos uma falta do nosso produto nas prateleiras dos supermercados</a:t>
            </a:r>
          </a:p>
        </p:txBody>
      </p:sp>
      <p:pic>
        <p:nvPicPr>
          <p:cNvPr id="47" name="Imagem 46">
            <a:extLst>
              <a:ext uri="{FF2B5EF4-FFF2-40B4-BE49-F238E27FC236}">
                <a16:creationId xmlns:a16="http://schemas.microsoft.com/office/drawing/2014/main" id="{089ACC44-011A-4ED2-8A08-C94E7B198A74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806837" y="1801802"/>
            <a:ext cx="1627198" cy="1627198"/>
          </a:xfrm>
          <a:prstGeom prst="rect">
            <a:avLst/>
          </a:prstGeom>
        </p:spPr>
      </p:pic>
      <p:pic>
        <p:nvPicPr>
          <p:cNvPr id="48" name="Gráfico 47" descr="Carrinho de compras">
            <a:extLst>
              <a:ext uri="{FF2B5EF4-FFF2-40B4-BE49-F238E27FC236}">
                <a16:creationId xmlns:a16="http://schemas.microsoft.com/office/drawing/2014/main" id="{9436CA99-94EB-474C-A133-523430D21A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01918" y="3355061"/>
            <a:ext cx="864967" cy="864967"/>
          </a:xfrm>
          <a:prstGeom prst="rect">
            <a:avLst/>
          </a:prstGeom>
        </p:spPr>
      </p:pic>
      <p:pic>
        <p:nvPicPr>
          <p:cNvPr id="49" name="Gráfico 48" descr="Carrinho de compras">
            <a:extLst>
              <a:ext uri="{FF2B5EF4-FFF2-40B4-BE49-F238E27FC236}">
                <a16:creationId xmlns:a16="http://schemas.microsoft.com/office/drawing/2014/main" id="{6E9DC94F-8F68-43E9-9789-F0094029F2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66885" y="3355061"/>
            <a:ext cx="864967" cy="864967"/>
          </a:xfrm>
          <a:prstGeom prst="rect">
            <a:avLst/>
          </a:prstGeom>
        </p:spPr>
      </p:pic>
      <p:pic>
        <p:nvPicPr>
          <p:cNvPr id="50" name="Gráfico 49" descr="Carrinho de compras">
            <a:extLst>
              <a:ext uri="{FF2B5EF4-FFF2-40B4-BE49-F238E27FC236}">
                <a16:creationId xmlns:a16="http://schemas.microsoft.com/office/drawing/2014/main" id="{5701BBA7-3FCC-45F2-8EE1-EB4B60534E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31852" y="3355060"/>
            <a:ext cx="864967" cy="864967"/>
          </a:xfrm>
          <a:prstGeom prst="rect">
            <a:avLst/>
          </a:prstGeom>
        </p:spPr>
      </p:pic>
      <p:sp>
        <p:nvSpPr>
          <p:cNvPr id="51" name="Símbolo de &quot;Não Permitido&quot; 50">
            <a:extLst>
              <a:ext uri="{FF2B5EF4-FFF2-40B4-BE49-F238E27FC236}">
                <a16:creationId xmlns:a16="http://schemas.microsoft.com/office/drawing/2014/main" id="{3B3DBF65-D971-4863-93F0-E846D5ADA533}"/>
              </a:ext>
            </a:extLst>
          </p:cNvPr>
          <p:cNvSpPr/>
          <p:nvPr/>
        </p:nvSpPr>
        <p:spPr>
          <a:xfrm>
            <a:off x="5268686" y="1671171"/>
            <a:ext cx="827314" cy="781743"/>
          </a:xfrm>
          <a:prstGeom prst="noSmoking">
            <a:avLst/>
          </a:prstGeom>
          <a:solidFill>
            <a:srgbClr val="FF44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390DCBF9-8449-48E8-B989-7CDFDDBC5950}"/>
              </a:ext>
            </a:extLst>
          </p:cNvPr>
          <p:cNvSpPr txBox="1"/>
          <p:nvPr/>
        </p:nvSpPr>
        <p:spPr>
          <a:xfrm>
            <a:off x="6197600" y="1845835"/>
            <a:ext cx="1879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chemeClr val="bg1">
                    <a:lumMod val="95000"/>
                  </a:schemeClr>
                </a:solidFill>
              </a:rPr>
              <a:t>Ruptura</a:t>
            </a:r>
            <a:endParaRPr lang="pt-BR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5" name="Seta: para a Direita 54">
            <a:extLst>
              <a:ext uri="{FF2B5EF4-FFF2-40B4-BE49-F238E27FC236}">
                <a16:creationId xmlns:a16="http://schemas.microsoft.com/office/drawing/2014/main" id="{26C27EAC-57F3-4357-8E07-D07AC28B4707}"/>
              </a:ext>
            </a:extLst>
          </p:cNvPr>
          <p:cNvSpPr/>
          <p:nvPr/>
        </p:nvSpPr>
        <p:spPr>
          <a:xfrm>
            <a:off x="2225151" y="5302520"/>
            <a:ext cx="1120582" cy="369331"/>
          </a:xfrm>
          <a:prstGeom prst="rightArrow">
            <a:avLst/>
          </a:prstGeom>
          <a:solidFill>
            <a:srgbClr val="FF44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1B15B05F-A26F-4A10-AD89-5CA81DA07B60}"/>
              </a:ext>
            </a:extLst>
          </p:cNvPr>
          <p:cNvSpPr/>
          <p:nvPr/>
        </p:nvSpPr>
        <p:spPr>
          <a:xfrm>
            <a:off x="3183937" y="4357749"/>
            <a:ext cx="5466577" cy="117288"/>
          </a:xfrm>
          <a:prstGeom prst="rect">
            <a:avLst/>
          </a:prstGeom>
          <a:solidFill>
            <a:srgbClr val="CCC4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E2B9BDC9-A314-4B87-B207-9DEBD76BB524}"/>
              </a:ext>
            </a:extLst>
          </p:cNvPr>
          <p:cNvSpPr/>
          <p:nvPr/>
        </p:nvSpPr>
        <p:spPr>
          <a:xfrm>
            <a:off x="8309685" y="4416393"/>
            <a:ext cx="152400" cy="253999"/>
          </a:xfrm>
          <a:prstGeom prst="rect">
            <a:avLst/>
          </a:prstGeom>
          <a:solidFill>
            <a:srgbClr val="CCC4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Retângulo 57">
            <a:extLst>
              <a:ext uri="{FF2B5EF4-FFF2-40B4-BE49-F238E27FC236}">
                <a16:creationId xmlns:a16="http://schemas.microsoft.com/office/drawing/2014/main" id="{CBD0002D-6B6A-4B22-A323-09CD09306AE9}"/>
              </a:ext>
            </a:extLst>
          </p:cNvPr>
          <p:cNvSpPr/>
          <p:nvPr/>
        </p:nvSpPr>
        <p:spPr>
          <a:xfrm>
            <a:off x="3345733" y="4467244"/>
            <a:ext cx="152400" cy="253999"/>
          </a:xfrm>
          <a:prstGeom prst="rect">
            <a:avLst/>
          </a:prstGeom>
          <a:solidFill>
            <a:srgbClr val="CCC4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C719E9C6-FA1C-474F-AEBE-713355285843}"/>
              </a:ext>
            </a:extLst>
          </p:cNvPr>
          <p:cNvSpPr txBox="1"/>
          <p:nvPr/>
        </p:nvSpPr>
        <p:spPr>
          <a:xfrm>
            <a:off x="1505561" y="5632325"/>
            <a:ext cx="2559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chemeClr val="bg1">
                    <a:lumMod val="95000"/>
                  </a:schemeClr>
                </a:solidFill>
              </a:rPr>
              <a:t>Estoque para prateleiras</a:t>
            </a:r>
          </a:p>
        </p:txBody>
      </p:sp>
      <p:sp>
        <p:nvSpPr>
          <p:cNvPr id="63" name="Seta: para a Direita 62">
            <a:extLst>
              <a:ext uri="{FF2B5EF4-FFF2-40B4-BE49-F238E27FC236}">
                <a16:creationId xmlns:a16="http://schemas.microsoft.com/office/drawing/2014/main" id="{480FE59A-C774-4574-A481-A5134D017D5D}"/>
              </a:ext>
            </a:extLst>
          </p:cNvPr>
          <p:cNvSpPr/>
          <p:nvPr/>
        </p:nvSpPr>
        <p:spPr>
          <a:xfrm>
            <a:off x="8512885" y="5304705"/>
            <a:ext cx="1120582" cy="369331"/>
          </a:xfrm>
          <a:prstGeom prst="rightArrow">
            <a:avLst/>
          </a:prstGeom>
          <a:solidFill>
            <a:srgbClr val="FF44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F89BBADA-5E52-450E-830F-D45CF74D38DB}"/>
              </a:ext>
            </a:extLst>
          </p:cNvPr>
          <p:cNvSpPr txBox="1"/>
          <p:nvPr/>
        </p:nvSpPr>
        <p:spPr>
          <a:xfrm>
            <a:off x="7810323" y="5632325"/>
            <a:ext cx="2559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chemeClr val="bg1">
                    <a:lumMod val="95000"/>
                  </a:schemeClr>
                </a:solidFill>
              </a:rPr>
              <a:t>Venda para cliente final</a:t>
            </a:r>
          </a:p>
        </p:txBody>
      </p:sp>
    </p:spTree>
    <p:extLst>
      <p:ext uri="{BB962C8B-B14F-4D97-AF65-F5344CB8AC3E}">
        <p14:creationId xmlns:p14="http://schemas.microsoft.com/office/powerpoint/2010/main" val="2776718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DD4B5CAF-4647-4A50-802F-26E57B9B3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É proposto um modelo preditivo integrado a um otimizador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CB022DF-C1F2-45BF-8CA8-0DA1E4C796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pt-BR" dirty="0"/>
              <a:t>O modelo preditivo envia informação para o otimizador para a geração de recomendação para a nível de SKU e client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68850F3-0F89-479A-80CE-C68B5663356F}"/>
              </a:ext>
            </a:extLst>
          </p:cNvPr>
          <p:cNvSpPr/>
          <p:nvPr/>
        </p:nvSpPr>
        <p:spPr>
          <a:xfrm>
            <a:off x="4006862" y="2596764"/>
            <a:ext cx="1824763" cy="17395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Modelo preditivo</a:t>
            </a: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 de probabilidade e ruptura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0E421CA4-5CB9-4028-9C50-5C2403C847DE}"/>
              </a:ext>
            </a:extLst>
          </p:cNvPr>
          <p:cNvSpPr/>
          <p:nvPr/>
        </p:nvSpPr>
        <p:spPr>
          <a:xfrm>
            <a:off x="728624" y="4241250"/>
            <a:ext cx="2828510" cy="203714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</p:txBody>
      </p:sp>
      <p:sp>
        <p:nvSpPr>
          <p:cNvPr id="8" name="Espaço Reservado para Texto 3">
            <a:extLst>
              <a:ext uri="{FF2B5EF4-FFF2-40B4-BE49-F238E27FC236}">
                <a16:creationId xmlns:a16="http://schemas.microsoft.com/office/drawing/2014/main" id="{A5316C94-A07D-42ED-ACCA-2290BFB8070C}"/>
              </a:ext>
            </a:extLst>
          </p:cNvPr>
          <p:cNvSpPr txBox="1">
            <a:spLocks/>
          </p:cNvSpPr>
          <p:nvPr/>
        </p:nvSpPr>
        <p:spPr>
          <a:xfrm>
            <a:off x="717790" y="4327617"/>
            <a:ext cx="2828509" cy="1902509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spcAft>
                <a:spcPts val="1800"/>
              </a:spcAft>
              <a:buNone/>
            </a:pPr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ACOMPANHAMENTO</a:t>
            </a:r>
          </a:p>
          <a:p>
            <a:pPr marL="87313" indent="-87313" algn="just"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Dados de controle de estoques dos clientes</a:t>
            </a:r>
          </a:p>
          <a:p>
            <a:pPr marL="87313" indent="-87313" algn="just"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Dados de estoques internos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72956032-EF5E-499B-8461-496175BADC88}"/>
              </a:ext>
            </a:extLst>
          </p:cNvPr>
          <p:cNvSpPr/>
          <p:nvPr/>
        </p:nvSpPr>
        <p:spPr>
          <a:xfrm>
            <a:off x="3976654" y="5614169"/>
            <a:ext cx="4124120" cy="8841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2060"/>
              </a:solidFill>
              <a:latin typeface="Suzano Sans Thin" panose="02010403030508060203" pitchFamily="2" charset="0"/>
            </a:endParaRPr>
          </a:p>
        </p:txBody>
      </p:sp>
      <p:sp>
        <p:nvSpPr>
          <p:cNvPr id="10" name="Seta: Pentágono 9">
            <a:extLst>
              <a:ext uri="{FF2B5EF4-FFF2-40B4-BE49-F238E27FC236}">
                <a16:creationId xmlns:a16="http://schemas.microsoft.com/office/drawing/2014/main" id="{A615220E-F447-4372-B415-D5142048FD8D}"/>
              </a:ext>
            </a:extLst>
          </p:cNvPr>
          <p:cNvSpPr/>
          <p:nvPr/>
        </p:nvSpPr>
        <p:spPr>
          <a:xfrm>
            <a:off x="769078" y="1851035"/>
            <a:ext cx="2939974" cy="465034"/>
          </a:xfrm>
          <a:prstGeom prst="homePlat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>
                <a:solidFill>
                  <a:schemeClr val="bg2"/>
                </a:solidFill>
                <a:latin typeface="Suzano Sans Thin" panose="02010403030508060203" pitchFamily="2" charset="0"/>
              </a:rPr>
              <a:t>INPUTS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12AD295-FBCF-4C8A-B1E3-76AE7DE5F98D}"/>
              </a:ext>
            </a:extLst>
          </p:cNvPr>
          <p:cNvSpPr/>
          <p:nvPr/>
        </p:nvSpPr>
        <p:spPr>
          <a:xfrm>
            <a:off x="6276011" y="3296539"/>
            <a:ext cx="1824763" cy="190251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  <a:p>
            <a:pPr algn="ctr"/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Modelo de otimização</a:t>
            </a: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 que minimiza ruptura</a:t>
            </a:r>
          </a:p>
          <a:p>
            <a:pPr algn="ctr"/>
            <a:endParaRPr lang="pt-BR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E949C8C-31F2-4C54-9AB3-0D7895FEAC1B}"/>
              </a:ext>
            </a:extLst>
          </p:cNvPr>
          <p:cNvSpPr/>
          <p:nvPr/>
        </p:nvSpPr>
        <p:spPr>
          <a:xfrm>
            <a:off x="8617446" y="2616301"/>
            <a:ext cx="2764552" cy="198801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</p:txBody>
      </p:sp>
      <p:sp>
        <p:nvSpPr>
          <p:cNvPr id="13" name="Seta: para a Direita 12">
            <a:extLst>
              <a:ext uri="{FF2B5EF4-FFF2-40B4-BE49-F238E27FC236}">
                <a16:creationId xmlns:a16="http://schemas.microsoft.com/office/drawing/2014/main" id="{63A8981D-13C1-40B3-89DD-F95931E6962E}"/>
              </a:ext>
            </a:extLst>
          </p:cNvPr>
          <p:cNvSpPr/>
          <p:nvPr/>
        </p:nvSpPr>
        <p:spPr>
          <a:xfrm>
            <a:off x="3667628" y="4667008"/>
            <a:ext cx="2527103" cy="298328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Suzano Sans Thin" panose="02010403030508060203" pitchFamily="2" charset="0"/>
            </a:endParaRPr>
          </a:p>
        </p:txBody>
      </p:sp>
      <p:sp>
        <p:nvSpPr>
          <p:cNvPr id="14" name="Seta: para a Direita 13">
            <a:extLst>
              <a:ext uri="{FF2B5EF4-FFF2-40B4-BE49-F238E27FC236}">
                <a16:creationId xmlns:a16="http://schemas.microsoft.com/office/drawing/2014/main" id="{424BBB36-2072-4411-B5CE-E1A09D371700}"/>
              </a:ext>
            </a:extLst>
          </p:cNvPr>
          <p:cNvSpPr/>
          <p:nvPr/>
        </p:nvSpPr>
        <p:spPr>
          <a:xfrm>
            <a:off x="5934048" y="3496515"/>
            <a:ext cx="260684" cy="298328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Suzano Sans Thin" panose="02010403030508060203" pitchFamily="2" charset="0"/>
            </a:endParaRP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B5B2BFBC-2243-436C-A7BD-256769BEE231}"/>
              </a:ext>
            </a:extLst>
          </p:cNvPr>
          <p:cNvSpPr/>
          <p:nvPr/>
        </p:nvSpPr>
        <p:spPr>
          <a:xfrm>
            <a:off x="8211490" y="3789950"/>
            <a:ext cx="260684" cy="298328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Suzano Sans Thin" panose="02010403030508060203" pitchFamily="2" charset="0"/>
            </a:endParaRPr>
          </a:p>
        </p:txBody>
      </p:sp>
      <p:sp>
        <p:nvSpPr>
          <p:cNvPr id="16" name="Seta: para a Direita 15">
            <a:extLst>
              <a:ext uri="{FF2B5EF4-FFF2-40B4-BE49-F238E27FC236}">
                <a16:creationId xmlns:a16="http://schemas.microsoft.com/office/drawing/2014/main" id="{5DC7FB31-9EFC-4D90-AAB0-AA1A2B6F50ED}"/>
              </a:ext>
            </a:extLst>
          </p:cNvPr>
          <p:cNvSpPr/>
          <p:nvPr/>
        </p:nvSpPr>
        <p:spPr>
          <a:xfrm rot="16200000">
            <a:off x="6989169" y="5248499"/>
            <a:ext cx="260684" cy="298328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Suzano Sans Thin" panose="02010403030508060203" pitchFamily="2" charset="0"/>
            </a:endParaRPr>
          </a:p>
        </p:txBody>
      </p:sp>
      <p:sp>
        <p:nvSpPr>
          <p:cNvPr id="17" name="Freeform 41">
            <a:extLst>
              <a:ext uri="{FF2B5EF4-FFF2-40B4-BE49-F238E27FC236}">
                <a16:creationId xmlns:a16="http://schemas.microsoft.com/office/drawing/2014/main" id="{63E54717-C3EE-45FF-8A53-ED20A6F2A347}"/>
              </a:ext>
            </a:extLst>
          </p:cNvPr>
          <p:cNvSpPr>
            <a:spLocks/>
          </p:cNvSpPr>
          <p:nvPr/>
        </p:nvSpPr>
        <p:spPr bwMode="auto">
          <a:xfrm>
            <a:off x="4034973" y="5688438"/>
            <a:ext cx="544227" cy="450255"/>
          </a:xfrm>
          <a:custGeom>
            <a:avLst/>
            <a:gdLst>
              <a:gd name="connsiteX0" fmla="*/ 196712 w 1110878"/>
              <a:gd name="connsiteY0" fmla="*/ 688809 h 1110929"/>
              <a:gd name="connsiteX1" fmla="*/ 196712 w 1110878"/>
              <a:gd name="connsiteY1" fmla="*/ 834147 h 1110929"/>
              <a:gd name="connsiteX2" fmla="*/ 197426 w 1110878"/>
              <a:gd name="connsiteY2" fmla="*/ 842696 h 1110929"/>
              <a:gd name="connsiteX3" fmla="*/ 185287 w 1110878"/>
              <a:gd name="connsiteY3" fmla="*/ 854807 h 1110929"/>
              <a:gd name="connsiteX4" fmla="*/ 130308 w 1110878"/>
              <a:gd name="connsiteY4" fmla="*/ 909665 h 1110929"/>
              <a:gd name="connsiteX5" fmla="*/ 130308 w 1110878"/>
              <a:gd name="connsiteY5" fmla="*/ 980909 h 1110929"/>
              <a:gd name="connsiteX6" fmla="*/ 201710 w 1110878"/>
              <a:gd name="connsiteY6" fmla="*/ 980909 h 1110929"/>
              <a:gd name="connsiteX7" fmla="*/ 258117 w 1110878"/>
              <a:gd name="connsiteY7" fmla="*/ 924626 h 1110929"/>
              <a:gd name="connsiteX8" fmla="*/ 267399 w 1110878"/>
              <a:gd name="connsiteY8" fmla="*/ 915365 h 1110929"/>
              <a:gd name="connsiteX9" fmla="*/ 278824 w 1110878"/>
              <a:gd name="connsiteY9" fmla="*/ 916077 h 1110929"/>
              <a:gd name="connsiteX10" fmla="*/ 360222 w 1110878"/>
              <a:gd name="connsiteY10" fmla="*/ 834147 h 1110929"/>
              <a:gd name="connsiteX11" fmla="*/ 360222 w 1110878"/>
              <a:gd name="connsiteY11" fmla="*/ 688809 h 1110929"/>
              <a:gd name="connsiteX12" fmla="*/ 395209 w 1110878"/>
              <a:gd name="connsiteY12" fmla="*/ 715882 h 1110929"/>
              <a:gd name="connsiteX13" fmla="*/ 395209 w 1110878"/>
              <a:gd name="connsiteY13" fmla="*/ 949562 h 1110929"/>
              <a:gd name="connsiteX14" fmla="*/ 338087 w 1110878"/>
              <a:gd name="connsiteY14" fmla="*/ 1007269 h 1110929"/>
              <a:gd name="connsiteX15" fmla="*/ 283108 w 1110878"/>
              <a:gd name="connsiteY15" fmla="*/ 1062840 h 1110929"/>
              <a:gd name="connsiteX16" fmla="*/ 48195 w 1110878"/>
              <a:gd name="connsiteY16" fmla="*/ 1062840 h 1110929"/>
              <a:gd name="connsiteX17" fmla="*/ 48195 w 1110878"/>
              <a:gd name="connsiteY17" fmla="*/ 828447 h 1110929"/>
              <a:gd name="connsiteX18" fmla="*/ 103889 w 1110878"/>
              <a:gd name="connsiteY18" fmla="*/ 772877 h 1110929"/>
              <a:gd name="connsiteX19" fmla="*/ 161725 w 1110878"/>
              <a:gd name="connsiteY19" fmla="*/ 715882 h 1110929"/>
              <a:gd name="connsiteX20" fmla="*/ 196712 w 1110878"/>
              <a:gd name="connsiteY20" fmla="*/ 688809 h 1110929"/>
              <a:gd name="connsiteX21" fmla="*/ 278416 w 1110878"/>
              <a:gd name="connsiteY21" fmla="*/ 391947 h 1110929"/>
              <a:gd name="connsiteX22" fmla="*/ 328422 w 1110878"/>
              <a:gd name="connsiteY22" fmla="*/ 442660 h 1110929"/>
              <a:gd name="connsiteX23" fmla="*/ 328422 w 1110878"/>
              <a:gd name="connsiteY23" fmla="*/ 774076 h 1110929"/>
              <a:gd name="connsiteX24" fmla="*/ 328422 w 1110878"/>
              <a:gd name="connsiteY24" fmla="*/ 833360 h 1110929"/>
              <a:gd name="connsiteX25" fmla="*/ 278416 w 1110878"/>
              <a:gd name="connsiteY25" fmla="*/ 884072 h 1110929"/>
              <a:gd name="connsiteX26" fmla="*/ 228409 w 1110878"/>
              <a:gd name="connsiteY26" fmla="*/ 833360 h 1110929"/>
              <a:gd name="connsiteX27" fmla="*/ 228409 w 1110878"/>
              <a:gd name="connsiteY27" fmla="*/ 776219 h 1110929"/>
              <a:gd name="connsiteX28" fmla="*/ 228409 w 1110878"/>
              <a:gd name="connsiteY28" fmla="*/ 442660 h 1110929"/>
              <a:gd name="connsiteX29" fmla="*/ 278416 w 1110878"/>
              <a:gd name="connsiteY29" fmla="*/ 391947 h 1110929"/>
              <a:gd name="connsiteX30" fmla="*/ 438117 w 1110878"/>
              <a:gd name="connsiteY30" fmla="*/ 360197 h 1110929"/>
              <a:gd name="connsiteX31" fmla="*/ 443838 w 1110878"/>
              <a:gd name="connsiteY31" fmla="*/ 360912 h 1110929"/>
              <a:gd name="connsiteX32" fmla="*/ 598297 w 1110878"/>
              <a:gd name="connsiteY32" fmla="*/ 360912 h 1110929"/>
              <a:gd name="connsiteX33" fmla="*/ 564688 w 1110878"/>
              <a:gd name="connsiteY33" fmla="*/ 407362 h 1110929"/>
              <a:gd name="connsiteX34" fmla="*/ 491749 w 1110878"/>
              <a:gd name="connsiteY34" fmla="*/ 480253 h 1110929"/>
              <a:gd name="connsiteX35" fmla="*/ 410229 w 1110878"/>
              <a:gd name="connsiteY35" fmla="*/ 561719 h 1110929"/>
              <a:gd name="connsiteX36" fmla="*/ 360887 w 1110878"/>
              <a:gd name="connsiteY36" fmla="*/ 596735 h 1110929"/>
              <a:gd name="connsiteX37" fmla="*/ 360887 w 1110878"/>
              <a:gd name="connsiteY37" fmla="*/ 443807 h 1110929"/>
              <a:gd name="connsiteX38" fmla="*/ 360172 w 1110878"/>
              <a:gd name="connsiteY38" fmla="*/ 438090 h 1110929"/>
              <a:gd name="connsiteX39" fmla="*/ 405938 w 1110878"/>
              <a:gd name="connsiteY39" fmla="*/ 392355 h 1110929"/>
              <a:gd name="connsiteX40" fmla="*/ 438117 w 1110878"/>
              <a:gd name="connsiteY40" fmla="*/ 360197 h 1110929"/>
              <a:gd name="connsiteX41" fmla="*/ 444222 w 1110878"/>
              <a:gd name="connsiteY41" fmla="*/ 226847 h 1110929"/>
              <a:gd name="connsiteX42" fmla="*/ 501362 w 1110878"/>
              <a:gd name="connsiteY42" fmla="*/ 226847 h 1110929"/>
              <a:gd name="connsiteX43" fmla="*/ 834922 w 1110878"/>
              <a:gd name="connsiteY43" fmla="*/ 226847 h 1110929"/>
              <a:gd name="connsiteX44" fmla="*/ 885634 w 1110878"/>
              <a:gd name="connsiteY44" fmla="*/ 277647 h 1110929"/>
              <a:gd name="connsiteX45" fmla="*/ 834922 w 1110878"/>
              <a:gd name="connsiteY45" fmla="*/ 328447 h 1110929"/>
              <a:gd name="connsiteX46" fmla="*/ 503505 w 1110878"/>
              <a:gd name="connsiteY46" fmla="*/ 328447 h 1110929"/>
              <a:gd name="connsiteX47" fmla="*/ 444222 w 1110878"/>
              <a:gd name="connsiteY47" fmla="*/ 328447 h 1110929"/>
              <a:gd name="connsiteX48" fmla="*/ 393509 w 1110878"/>
              <a:gd name="connsiteY48" fmla="*/ 277647 h 1110929"/>
              <a:gd name="connsiteX49" fmla="*/ 444222 w 1110878"/>
              <a:gd name="connsiteY49" fmla="*/ 226847 h 1110929"/>
              <a:gd name="connsiteX50" fmla="*/ 439895 w 1110878"/>
              <a:gd name="connsiteY50" fmla="*/ 106033 h 1110929"/>
              <a:gd name="connsiteX51" fmla="*/ 564236 w 1110878"/>
              <a:gd name="connsiteY51" fmla="*/ 157930 h 1110929"/>
              <a:gd name="connsiteX52" fmla="*/ 593534 w 1110878"/>
              <a:gd name="connsiteY52" fmla="*/ 196451 h 1110929"/>
              <a:gd name="connsiteX53" fmla="*/ 443468 w 1110878"/>
              <a:gd name="connsiteY53" fmla="*/ 196451 h 1110929"/>
              <a:gd name="connsiteX54" fmla="*/ 361289 w 1110878"/>
              <a:gd name="connsiteY54" fmla="*/ 278487 h 1110929"/>
              <a:gd name="connsiteX55" fmla="*/ 361289 w 1110878"/>
              <a:gd name="connsiteY55" fmla="*/ 284194 h 1110929"/>
              <a:gd name="connsiteX56" fmla="*/ 328417 w 1110878"/>
              <a:gd name="connsiteY56" fmla="*/ 317722 h 1110929"/>
              <a:gd name="connsiteX57" fmla="*/ 320557 w 1110878"/>
              <a:gd name="connsiteY57" fmla="*/ 325569 h 1110929"/>
              <a:gd name="connsiteX58" fmla="*/ 284827 w 1110878"/>
              <a:gd name="connsiteY58" fmla="*/ 361236 h 1110929"/>
              <a:gd name="connsiteX59" fmla="*/ 279110 w 1110878"/>
              <a:gd name="connsiteY59" fmla="*/ 361236 h 1110929"/>
              <a:gd name="connsiteX60" fmla="*/ 196931 w 1110878"/>
              <a:gd name="connsiteY60" fmla="*/ 443272 h 1110929"/>
              <a:gd name="connsiteX61" fmla="*/ 196931 w 1110878"/>
              <a:gd name="connsiteY61" fmla="*/ 588797 h 1110929"/>
              <a:gd name="connsiteX62" fmla="*/ 161201 w 1110878"/>
              <a:gd name="connsiteY62" fmla="*/ 560976 h 1110929"/>
              <a:gd name="connsiteX63" fmla="*/ 161201 w 1110878"/>
              <a:gd name="connsiteY63" fmla="*/ 312728 h 1110929"/>
              <a:gd name="connsiteX64" fmla="*/ 242665 w 1110878"/>
              <a:gd name="connsiteY64" fmla="*/ 231405 h 1110929"/>
              <a:gd name="connsiteX65" fmla="*/ 315554 w 1110878"/>
              <a:gd name="connsiteY65" fmla="*/ 157930 h 1110929"/>
              <a:gd name="connsiteX66" fmla="*/ 439895 w 1110878"/>
              <a:gd name="connsiteY66" fmla="*/ 106033 h 1110929"/>
              <a:gd name="connsiteX67" fmla="*/ 945412 w 1110878"/>
              <a:gd name="connsiteY67" fmla="*/ 0 h 1110929"/>
              <a:gd name="connsiteX68" fmla="*/ 1062710 w 1110878"/>
              <a:gd name="connsiteY68" fmla="*/ 48124 h 1110929"/>
              <a:gd name="connsiteX69" fmla="*/ 1062710 w 1110878"/>
              <a:gd name="connsiteY69" fmla="*/ 282685 h 1110929"/>
              <a:gd name="connsiteX70" fmla="*/ 1007050 w 1110878"/>
              <a:gd name="connsiteY70" fmla="*/ 338295 h 1110929"/>
              <a:gd name="connsiteX71" fmla="*/ 949248 w 1110878"/>
              <a:gd name="connsiteY71" fmla="*/ 395331 h 1110929"/>
              <a:gd name="connsiteX72" fmla="*/ 715901 w 1110878"/>
              <a:gd name="connsiteY72" fmla="*/ 395331 h 1110929"/>
              <a:gd name="connsiteX73" fmla="*/ 688784 w 1110878"/>
              <a:gd name="connsiteY73" fmla="*/ 360396 h 1110929"/>
              <a:gd name="connsiteX74" fmla="*/ 834359 w 1110878"/>
              <a:gd name="connsiteY74" fmla="*/ 360396 h 1110929"/>
              <a:gd name="connsiteX75" fmla="*/ 915709 w 1110878"/>
              <a:gd name="connsiteY75" fmla="*/ 278407 h 1110929"/>
              <a:gd name="connsiteX76" fmla="*/ 914995 w 1110878"/>
              <a:gd name="connsiteY76" fmla="*/ 267000 h 1110929"/>
              <a:gd name="connsiteX77" fmla="*/ 924272 w 1110878"/>
              <a:gd name="connsiteY77" fmla="*/ 257732 h 1110929"/>
              <a:gd name="connsiteX78" fmla="*/ 980646 w 1110878"/>
              <a:gd name="connsiteY78" fmla="*/ 201409 h 1110929"/>
              <a:gd name="connsiteX79" fmla="*/ 980646 w 1110878"/>
              <a:gd name="connsiteY79" fmla="*/ 130114 h 1110929"/>
              <a:gd name="connsiteX80" fmla="*/ 909286 w 1110878"/>
              <a:gd name="connsiteY80" fmla="*/ 130114 h 1110929"/>
              <a:gd name="connsiteX81" fmla="*/ 855053 w 1110878"/>
              <a:gd name="connsiteY81" fmla="*/ 185011 h 1110929"/>
              <a:gd name="connsiteX82" fmla="*/ 842922 w 1110878"/>
              <a:gd name="connsiteY82" fmla="*/ 197131 h 1110929"/>
              <a:gd name="connsiteX83" fmla="*/ 834359 w 1110878"/>
              <a:gd name="connsiteY83" fmla="*/ 196418 h 1110929"/>
              <a:gd name="connsiteX84" fmla="*/ 688784 w 1110878"/>
              <a:gd name="connsiteY84" fmla="*/ 196418 h 1110929"/>
              <a:gd name="connsiteX85" fmla="*/ 715901 w 1110878"/>
              <a:gd name="connsiteY85" fmla="*/ 161483 h 1110929"/>
              <a:gd name="connsiteX86" fmla="*/ 772989 w 1110878"/>
              <a:gd name="connsiteY86" fmla="*/ 103735 h 1110929"/>
              <a:gd name="connsiteX87" fmla="*/ 828650 w 1110878"/>
              <a:gd name="connsiteY87" fmla="*/ 48124 h 1110929"/>
              <a:gd name="connsiteX88" fmla="*/ 945412 w 1110878"/>
              <a:gd name="connsiteY88" fmla="*/ 0 h 1110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110878" h="1110929">
                <a:moveTo>
                  <a:pt x="196712" y="688809"/>
                </a:moveTo>
                <a:cubicBezTo>
                  <a:pt x="196712" y="834147"/>
                  <a:pt x="196712" y="834147"/>
                  <a:pt x="196712" y="834147"/>
                </a:cubicBezTo>
                <a:cubicBezTo>
                  <a:pt x="196712" y="836996"/>
                  <a:pt x="196712" y="839846"/>
                  <a:pt x="197426" y="842696"/>
                </a:cubicBezTo>
                <a:cubicBezTo>
                  <a:pt x="185287" y="854807"/>
                  <a:pt x="185287" y="854807"/>
                  <a:pt x="185287" y="854807"/>
                </a:cubicBezTo>
                <a:cubicBezTo>
                  <a:pt x="130308" y="909665"/>
                  <a:pt x="130308" y="909665"/>
                  <a:pt x="130308" y="909665"/>
                </a:cubicBezTo>
                <a:cubicBezTo>
                  <a:pt x="110315" y="929614"/>
                  <a:pt x="110315" y="961673"/>
                  <a:pt x="130308" y="980909"/>
                </a:cubicBezTo>
                <a:cubicBezTo>
                  <a:pt x="149586" y="1000857"/>
                  <a:pt x="181717" y="1000857"/>
                  <a:pt x="201710" y="980909"/>
                </a:cubicBezTo>
                <a:cubicBezTo>
                  <a:pt x="258117" y="924626"/>
                  <a:pt x="258117" y="924626"/>
                  <a:pt x="258117" y="924626"/>
                </a:cubicBezTo>
                <a:cubicBezTo>
                  <a:pt x="267399" y="915365"/>
                  <a:pt x="267399" y="915365"/>
                  <a:pt x="267399" y="915365"/>
                </a:cubicBezTo>
                <a:cubicBezTo>
                  <a:pt x="270969" y="915365"/>
                  <a:pt x="275254" y="916077"/>
                  <a:pt x="278824" y="916077"/>
                </a:cubicBezTo>
                <a:cubicBezTo>
                  <a:pt x="323093" y="916077"/>
                  <a:pt x="360222" y="879030"/>
                  <a:pt x="360222" y="834147"/>
                </a:cubicBezTo>
                <a:cubicBezTo>
                  <a:pt x="360222" y="688809"/>
                  <a:pt x="360222" y="688809"/>
                  <a:pt x="360222" y="688809"/>
                </a:cubicBezTo>
                <a:cubicBezTo>
                  <a:pt x="372360" y="695934"/>
                  <a:pt x="384498" y="704483"/>
                  <a:pt x="395209" y="715882"/>
                </a:cubicBezTo>
                <a:cubicBezTo>
                  <a:pt x="460184" y="780001"/>
                  <a:pt x="460184" y="885442"/>
                  <a:pt x="395209" y="949562"/>
                </a:cubicBezTo>
                <a:cubicBezTo>
                  <a:pt x="338087" y="1007269"/>
                  <a:pt x="338087" y="1007269"/>
                  <a:pt x="338087" y="1007269"/>
                </a:cubicBezTo>
                <a:cubicBezTo>
                  <a:pt x="283108" y="1062840"/>
                  <a:pt x="283108" y="1062840"/>
                  <a:pt x="283108" y="1062840"/>
                </a:cubicBezTo>
                <a:cubicBezTo>
                  <a:pt x="218132" y="1126959"/>
                  <a:pt x="113172" y="1126959"/>
                  <a:pt x="48195" y="1062840"/>
                </a:cubicBezTo>
                <a:cubicBezTo>
                  <a:pt x="-16066" y="998008"/>
                  <a:pt x="-16066" y="893279"/>
                  <a:pt x="48195" y="828447"/>
                </a:cubicBezTo>
                <a:cubicBezTo>
                  <a:pt x="103889" y="772877"/>
                  <a:pt x="103889" y="772877"/>
                  <a:pt x="103889" y="772877"/>
                </a:cubicBezTo>
                <a:cubicBezTo>
                  <a:pt x="161725" y="715882"/>
                  <a:pt x="161725" y="715882"/>
                  <a:pt x="161725" y="715882"/>
                </a:cubicBezTo>
                <a:cubicBezTo>
                  <a:pt x="172435" y="705195"/>
                  <a:pt x="183859" y="695934"/>
                  <a:pt x="196712" y="688809"/>
                </a:cubicBezTo>
                <a:close/>
                <a:moveTo>
                  <a:pt x="278416" y="391947"/>
                </a:moveTo>
                <a:cubicBezTo>
                  <a:pt x="305884" y="391947"/>
                  <a:pt x="328422" y="414803"/>
                  <a:pt x="328422" y="442660"/>
                </a:cubicBezTo>
                <a:cubicBezTo>
                  <a:pt x="328422" y="774076"/>
                  <a:pt x="328422" y="774076"/>
                  <a:pt x="328422" y="774076"/>
                </a:cubicBezTo>
                <a:cubicBezTo>
                  <a:pt x="328422" y="833360"/>
                  <a:pt x="328422" y="833360"/>
                  <a:pt x="328422" y="833360"/>
                </a:cubicBezTo>
                <a:cubicBezTo>
                  <a:pt x="328422" y="861216"/>
                  <a:pt x="305884" y="884072"/>
                  <a:pt x="278416" y="884072"/>
                </a:cubicBezTo>
                <a:cubicBezTo>
                  <a:pt x="250947" y="884072"/>
                  <a:pt x="228409" y="861216"/>
                  <a:pt x="228409" y="833360"/>
                </a:cubicBezTo>
                <a:cubicBezTo>
                  <a:pt x="228409" y="776219"/>
                  <a:pt x="228409" y="776219"/>
                  <a:pt x="228409" y="776219"/>
                </a:cubicBezTo>
                <a:cubicBezTo>
                  <a:pt x="228409" y="442660"/>
                  <a:pt x="228409" y="442660"/>
                  <a:pt x="228409" y="442660"/>
                </a:cubicBezTo>
                <a:cubicBezTo>
                  <a:pt x="228409" y="414803"/>
                  <a:pt x="250947" y="391947"/>
                  <a:pt x="278416" y="391947"/>
                </a:cubicBezTo>
                <a:close/>
                <a:moveTo>
                  <a:pt x="438117" y="360197"/>
                </a:moveTo>
                <a:cubicBezTo>
                  <a:pt x="440262" y="360912"/>
                  <a:pt x="441693" y="360912"/>
                  <a:pt x="443838" y="360912"/>
                </a:cubicBezTo>
                <a:cubicBezTo>
                  <a:pt x="443838" y="360912"/>
                  <a:pt x="443838" y="360912"/>
                  <a:pt x="598297" y="360912"/>
                </a:cubicBezTo>
                <a:cubicBezTo>
                  <a:pt x="589716" y="377348"/>
                  <a:pt x="578990" y="393069"/>
                  <a:pt x="564688" y="407362"/>
                </a:cubicBezTo>
                <a:cubicBezTo>
                  <a:pt x="564688" y="407362"/>
                  <a:pt x="564688" y="407362"/>
                  <a:pt x="491749" y="480253"/>
                </a:cubicBezTo>
                <a:cubicBezTo>
                  <a:pt x="491749" y="480253"/>
                  <a:pt x="491749" y="480253"/>
                  <a:pt x="410229" y="561719"/>
                </a:cubicBezTo>
                <a:cubicBezTo>
                  <a:pt x="395212" y="576726"/>
                  <a:pt x="378765" y="588160"/>
                  <a:pt x="360887" y="596735"/>
                </a:cubicBezTo>
                <a:cubicBezTo>
                  <a:pt x="360887" y="596735"/>
                  <a:pt x="360887" y="596735"/>
                  <a:pt x="360887" y="443807"/>
                </a:cubicBezTo>
                <a:cubicBezTo>
                  <a:pt x="360887" y="441663"/>
                  <a:pt x="360887" y="440234"/>
                  <a:pt x="360172" y="438090"/>
                </a:cubicBezTo>
                <a:cubicBezTo>
                  <a:pt x="360172" y="438090"/>
                  <a:pt x="360172" y="438090"/>
                  <a:pt x="405938" y="392355"/>
                </a:cubicBezTo>
                <a:cubicBezTo>
                  <a:pt x="405938" y="392355"/>
                  <a:pt x="405938" y="392355"/>
                  <a:pt x="438117" y="360197"/>
                </a:cubicBezTo>
                <a:close/>
                <a:moveTo>
                  <a:pt x="444222" y="226847"/>
                </a:moveTo>
                <a:cubicBezTo>
                  <a:pt x="444222" y="226847"/>
                  <a:pt x="444222" y="226847"/>
                  <a:pt x="501362" y="226847"/>
                </a:cubicBezTo>
                <a:cubicBezTo>
                  <a:pt x="501362" y="226847"/>
                  <a:pt x="501362" y="226847"/>
                  <a:pt x="834922" y="226847"/>
                </a:cubicBezTo>
                <a:cubicBezTo>
                  <a:pt x="862778" y="226847"/>
                  <a:pt x="885634" y="249743"/>
                  <a:pt x="885634" y="277647"/>
                </a:cubicBezTo>
                <a:cubicBezTo>
                  <a:pt x="885634" y="305551"/>
                  <a:pt x="862778" y="328447"/>
                  <a:pt x="834922" y="328447"/>
                </a:cubicBezTo>
                <a:cubicBezTo>
                  <a:pt x="834922" y="328447"/>
                  <a:pt x="834922" y="328447"/>
                  <a:pt x="503505" y="328447"/>
                </a:cubicBezTo>
                <a:cubicBezTo>
                  <a:pt x="503505" y="328447"/>
                  <a:pt x="503505" y="328447"/>
                  <a:pt x="444222" y="328447"/>
                </a:cubicBezTo>
                <a:cubicBezTo>
                  <a:pt x="416366" y="328447"/>
                  <a:pt x="393509" y="305551"/>
                  <a:pt x="393509" y="277647"/>
                </a:cubicBezTo>
                <a:cubicBezTo>
                  <a:pt x="393509" y="249743"/>
                  <a:pt x="416366" y="226847"/>
                  <a:pt x="444222" y="226847"/>
                </a:cubicBezTo>
                <a:close/>
                <a:moveTo>
                  <a:pt x="439895" y="106033"/>
                </a:moveTo>
                <a:cubicBezTo>
                  <a:pt x="484915" y="106033"/>
                  <a:pt x="529935" y="123332"/>
                  <a:pt x="564236" y="157930"/>
                </a:cubicBezTo>
                <a:cubicBezTo>
                  <a:pt x="576384" y="169343"/>
                  <a:pt x="586388" y="182897"/>
                  <a:pt x="593534" y="196451"/>
                </a:cubicBezTo>
                <a:cubicBezTo>
                  <a:pt x="593534" y="196451"/>
                  <a:pt x="593534" y="196451"/>
                  <a:pt x="443468" y="196451"/>
                </a:cubicBezTo>
                <a:cubicBezTo>
                  <a:pt x="398448" y="196451"/>
                  <a:pt x="361289" y="232832"/>
                  <a:pt x="361289" y="278487"/>
                </a:cubicBezTo>
                <a:cubicBezTo>
                  <a:pt x="361289" y="280627"/>
                  <a:pt x="361289" y="282767"/>
                  <a:pt x="361289" y="284194"/>
                </a:cubicBezTo>
                <a:cubicBezTo>
                  <a:pt x="361289" y="284194"/>
                  <a:pt x="361289" y="284194"/>
                  <a:pt x="328417" y="317722"/>
                </a:cubicBezTo>
                <a:cubicBezTo>
                  <a:pt x="328417" y="317722"/>
                  <a:pt x="328417" y="317722"/>
                  <a:pt x="320557" y="325569"/>
                </a:cubicBezTo>
                <a:cubicBezTo>
                  <a:pt x="320557" y="325569"/>
                  <a:pt x="320557" y="325569"/>
                  <a:pt x="284827" y="361236"/>
                </a:cubicBezTo>
                <a:cubicBezTo>
                  <a:pt x="283397" y="361236"/>
                  <a:pt x="281254" y="361236"/>
                  <a:pt x="279110" y="361236"/>
                </a:cubicBezTo>
                <a:cubicBezTo>
                  <a:pt x="233375" y="361236"/>
                  <a:pt x="196931" y="398331"/>
                  <a:pt x="196931" y="443272"/>
                </a:cubicBezTo>
                <a:cubicBezTo>
                  <a:pt x="196931" y="443272"/>
                  <a:pt x="196931" y="443272"/>
                  <a:pt x="196931" y="588797"/>
                </a:cubicBezTo>
                <a:cubicBezTo>
                  <a:pt x="184068" y="581664"/>
                  <a:pt x="171920" y="572390"/>
                  <a:pt x="161201" y="560976"/>
                </a:cubicBezTo>
                <a:cubicBezTo>
                  <a:pt x="91884" y="492494"/>
                  <a:pt x="91884" y="381210"/>
                  <a:pt x="161201" y="312728"/>
                </a:cubicBezTo>
                <a:cubicBezTo>
                  <a:pt x="161201" y="312728"/>
                  <a:pt x="161201" y="312728"/>
                  <a:pt x="242665" y="231405"/>
                </a:cubicBezTo>
                <a:cubicBezTo>
                  <a:pt x="242665" y="231405"/>
                  <a:pt x="242665" y="231405"/>
                  <a:pt x="315554" y="157930"/>
                </a:cubicBezTo>
                <a:cubicBezTo>
                  <a:pt x="349855" y="123332"/>
                  <a:pt x="394875" y="106033"/>
                  <a:pt x="439895" y="106033"/>
                </a:cubicBezTo>
                <a:close/>
                <a:moveTo>
                  <a:pt x="945412" y="0"/>
                </a:moveTo>
                <a:cubicBezTo>
                  <a:pt x="987782" y="0"/>
                  <a:pt x="1030241" y="16042"/>
                  <a:pt x="1062710" y="48124"/>
                </a:cubicBezTo>
                <a:cubicBezTo>
                  <a:pt x="1126934" y="113003"/>
                  <a:pt x="1126934" y="217806"/>
                  <a:pt x="1062710" y="282685"/>
                </a:cubicBezTo>
                <a:cubicBezTo>
                  <a:pt x="1062710" y="282685"/>
                  <a:pt x="1062710" y="282685"/>
                  <a:pt x="1007050" y="338295"/>
                </a:cubicBezTo>
                <a:cubicBezTo>
                  <a:pt x="1007050" y="338295"/>
                  <a:pt x="1007050" y="338295"/>
                  <a:pt x="949248" y="395331"/>
                </a:cubicBezTo>
                <a:cubicBezTo>
                  <a:pt x="885024" y="460209"/>
                  <a:pt x="780125" y="460209"/>
                  <a:pt x="715901" y="395331"/>
                </a:cubicBezTo>
                <a:cubicBezTo>
                  <a:pt x="704483" y="384637"/>
                  <a:pt x="695920" y="372516"/>
                  <a:pt x="688784" y="360396"/>
                </a:cubicBezTo>
                <a:cubicBezTo>
                  <a:pt x="688784" y="360396"/>
                  <a:pt x="688784" y="360396"/>
                  <a:pt x="834359" y="360396"/>
                </a:cubicBezTo>
                <a:cubicBezTo>
                  <a:pt x="879315" y="360396"/>
                  <a:pt x="915709" y="323323"/>
                  <a:pt x="915709" y="278407"/>
                </a:cubicBezTo>
                <a:cubicBezTo>
                  <a:pt x="915709" y="274842"/>
                  <a:pt x="914995" y="270565"/>
                  <a:pt x="914995" y="267000"/>
                </a:cubicBezTo>
                <a:cubicBezTo>
                  <a:pt x="914995" y="267000"/>
                  <a:pt x="914995" y="267000"/>
                  <a:pt x="924272" y="257732"/>
                </a:cubicBezTo>
                <a:cubicBezTo>
                  <a:pt x="924272" y="257732"/>
                  <a:pt x="924272" y="257732"/>
                  <a:pt x="980646" y="201409"/>
                </a:cubicBezTo>
                <a:cubicBezTo>
                  <a:pt x="1000627" y="181446"/>
                  <a:pt x="1000627" y="149363"/>
                  <a:pt x="980646" y="130114"/>
                </a:cubicBezTo>
                <a:cubicBezTo>
                  <a:pt x="961379" y="110151"/>
                  <a:pt x="929267" y="110151"/>
                  <a:pt x="909286" y="130114"/>
                </a:cubicBezTo>
                <a:cubicBezTo>
                  <a:pt x="909286" y="130114"/>
                  <a:pt x="909286" y="130114"/>
                  <a:pt x="855053" y="185011"/>
                </a:cubicBezTo>
                <a:cubicBezTo>
                  <a:pt x="855053" y="185011"/>
                  <a:pt x="855053" y="185011"/>
                  <a:pt x="842922" y="197131"/>
                </a:cubicBezTo>
                <a:cubicBezTo>
                  <a:pt x="840067" y="196418"/>
                  <a:pt x="837213" y="196418"/>
                  <a:pt x="834359" y="196418"/>
                </a:cubicBezTo>
                <a:cubicBezTo>
                  <a:pt x="834359" y="196418"/>
                  <a:pt x="834359" y="196418"/>
                  <a:pt x="688784" y="196418"/>
                </a:cubicBezTo>
                <a:cubicBezTo>
                  <a:pt x="695920" y="183585"/>
                  <a:pt x="705197" y="172178"/>
                  <a:pt x="715901" y="161483"/>
                </a:cubicBezTo>
                <a:cubicBezTo>
                  <a:pt x="715901" y="161483"/>
                  <a:pt x="715901" y="161483"/>
                  <a:pt x="772989" y="103735"/>
                </a:cubicBezTo>
                <a:cubicBezTo>
                  <a:pt x="772989" y="103735"/>
                  <a:pt x="772989" y="103735"/>
                  <a:pt x="828650" y="48124"/>
                </a:cubicBezTo>
                <a:cubicBezTo>
                  <a:pt x="860762" y="16042"/>
                  <a:pt x="903043" y="0"/>
                  <a:pt x="945412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sz="2000">
              <a:latin typeface="Suzano Sans Thin" panose="02010403030508060203" pitchFamily="2" charset="0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46AAD55B-A4D9-404C-9F1B-E913A9243706}"/>
              </a:ext>
            </a:extLst>
          </p:cNvPr>
          <p:cNvSpPr/>
          <p:nvPr/>
        </p:nvSpPr>
        <p:spPr>
          <a:xfrm>
            <a:off x="725898" y="2488311"/>
            <a:ext cx="2828510" cy="1582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'</a:t>
            </a:r>
          </a:p>
        </p:txBody>
      </p:sp>
      <p:sp>
        <p:nvSpPr>
          <p:cNvPr id="19" name="Espaço Reservado para Texto 3">
            <a:extLst>
              <a:ext uri="{FF2B5EF4-FFF2-40B4-BE49-F238E27FC236}">
                <a16:creationId xmlns:a16="http://schemas.microsoft.com/office/drawing/2014/main" id="{4023147F-5268-4632-B546-2529F00965F9}"/>
              </a:ext>
            </a:extLst>
          </p:cNvPr>
          <p:cNvSpPr txBox="1">
            <a:spLocks/>
          </p:cNvSpPr>
          <p:nvPr/>
        </p:nvSpPr>
        <p:spPr>
          <a:xfrm>
            <a:off x="735822" y="2646641"/>
            <a:ext cx="2828509" cy="1461914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spcAft>
                <a:spcPts val="1800"/>
              </a:spcAft>
              <a:buNone/>
            </a:pPr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DADOS HISTÓRICOS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Dados de histórico de vendas e rupturas por SKU e Cliente</a:t>
            </a:r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AF0217F6-5D83-4CD0-8E81-7077EA40124E}"/>
              </a:ext>
            </a:extLst>
          </p:cNvPr>
          <p:cNvSpPr/>
          <p:nvPr/>
        </p:nvSpPr>
        <p:spPr>
          <a:xfrm>
            <a:off x="3653022" y="2985467"/>
            <a:ext cx="260684" cy="298328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Suzano Sans Thin" panose="02010403030508060203" pitchFamily="2" charset="0"/>
            </a:endParaRPr>
          </a:p>
        </p:txBody>
      </p:sp>
      <p:grpSp>
        <p:nvGrpSpPr>
          <p:cNvPr id="21" name="bcgIcons_DigitalFactory">
            <a:extLst>
              <a:ext uri="{FF2B5EF4-FFF2-40B4-BE49-F238E27FC236}">
                <a16:creationId xmlns:a16="http://schemas.microsoft.com/office/drawing/2014/main" id="{A3633F0C-3551-4428-89E4-ED2A236622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9078" y="2555689"/>
            <a:ext cx="636862" cy="637454"/>
            <a:chOff x="1682" y="0"/>
            <a:chExt cx="4316" cy="4320"/>
          </a:xfrm>
        </p:grpSpPr>
        <p:sp>
          <p:nvSpPr>
            <p:cNvPr id="22" name="AutoShape 33">
              <a:extLst>
                <a:ext uri="{FF2B5EF4-FFF2-40B4-BE49-F238E27FC236}">
                  <a16:creationId xmlns:a16="http://schemas.microsoft.com/office/drawing/2014/main" id="{F1A3BA5F-0800-4FA6-94A4-90A76B7072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B88E33CA-CD9C-4EF0-A092-8EEE2953F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1303"/>
              <a:ext cx="3620" cy="2571"/>
            </a:xfrm>
            <a:custGeom>
              <a:avLst/>
              <a:gdLst>
                <a:gd name="T0" fmla="*/ 1910 w 1932"/>
                <a:gd name="T1" fmla="*/ 1227 h 1371"/>
                <a:gd name="T2" fmla="*/ 1834 w 1932"/>
                <a:gd name="T3" fmla="*/ 1227 h 1371"/>
                <a:gd name="T4" fmla="*/ 1834 w 1932"/>
                <a:gd name="T5" fmla="*/ 1190 h 1371"/>
                <a:gd name="T6" fmla="*/ 1812 w 1932"/>
                <a:gd name="T7" fmla="*/ 1168 h 1371"/>
                <a:gd name="T8" fmla="*/ 120 w 1932"/>
                <a:gd name="T9" fmla="*/ 1168 h 1371"/>
                <a:gd name="T10" fmla="*/ 98 w 1932"/>
                <a:gd name="T11" fmla="*/ 1190 h 1371"/>
                <a:gd name="T12" fmla="*/ 98 w 1932"/>
                <a:gd name="T13" fmla="*/ 1227 h 1371"/>
                <a:gd name="T14" fmla="*/ 22 w 1932"/>
                <a:gd name="T15" fmla="*/ 1227 h 1371"/>
                <a:gd name="T16" fmla="*/ 0 w 1932"/>
                <a:gd name="T17" fmla="*/ 1249 h 1371"/>
                <a:gd name="T18" fmla="*/ 0 w 1932"/>
                <a:gd name="T19" fmla="*/ 1349 h 1371"/>
                <a:gd name="T20" fmla="*/ 22 w 1932"/>
                <a:gd name="T21" fmla="*/ 1371 h 1371"/>
                <a:gd name="T22" fmla="*/ 1910 w 1932"/>
                <a:gd name="T23" fmla="*/ 1371 h 1371"/>
                <a:gd name="T24" fmla="*/ 1932 w 1932"/>
                <a:gd name="T25" fmla="*/ 1349 h 1371"/>
                <a:gd name="T26" fmla="*/ 1932 w 1932"/>
                <a:gd name="T27" fmla="*/ 1249 h 1371"/>
                <a:gd name="T28" fmla="*/ 1910 w 1932"/>
                <a:gd name="T29" fmla="*/ 1227 h 1371"/>
                <a:gd name="T30" fmla="*/ 1812 w 1932"/>
                <a:gd name="T31" fmla="*/ 1124 h 1371"/>
                <a:gd name="T32" fmla="*/ 1768 w 1932"/>
                <a:gd name="T33" fmla="*/ 1124 h 1371"/>
                <a:gd name="T34" fmla="*/ 1768 w 1932"/>
                <a:gd name="T35" fmla="*/ 235 h 1371"/>
                <a:gd name="T36" fmla="*/ 1282 w 1932"/>
                <a:gd name="T37" fmla="*/ 235 h 1371"/>
                <a:gd name="T38" fmla="*/ 1275 w 1932"/>
                <a:gd name="T39" fmla="*/ 234 h 1371"/>
                <a:gd name="T40" fmla="*/ 728 w 1932"/>
                <a:gd name="T41" fmla="*/ 53 h 1371"/>
                <a:gd name="T42" fmla="*/ 728 w 1932"/>
                <a:gd name="T43" fmla="*/ 211 h 1371"/>
                <a:gd name="T44" fmla="*/ 719 w 1932"/>
                <a:gd name="T45" fmla="*/ 229 h 1371"/>
                <a:gd name="T46" fmla="*/ 699 w 1932"/>
                <a:gd name="T47" fmla="*/ 232 h 1371"/>
                <a:gd name="T48" fmla="*/ 162 w 1932"/>
                <a:gd name="T49" fmla="*/ 53 h 1371"/>
                <a:gd name="T50" fmla="*/ 162 w 1932"/>
                <a:gd name="T51" fmla="*/ 1124 h 1371"/>
                <a:gd name="T52" fmla="*/ 118 w 1932"/>
                <a:gd name="T53" fmla="*/ 1124 h 1371"/>
                <a:gd name="T54" fmla="*/ 118 w 1932"/>
                <a:gd name="T55" fmla="*/ 23 h 1371"/>
                <a:gd name="T56" fmla="*/ 127 w 1932"/>
                <a:gd name="T57" fmla="*/ 5 h 1371"/>
                <a:gd name="T58" fmla="*/ 147 w 1932"/>
                <a:gd name="T59" fmla="*/ 2 h 1371"/>
                <a:gd name="T60" fmla="*/ 684 w 1932"/>
                <a:gd name="T61" fmla="*/ 181 h 1371"/>
                <a:gd name="T62" fmla="*/ 684 w 1932"/>
                <a:gd name="T63" fmla="*/ 23 h 1371"/>
                <a:gd name="T64" fmla="*/ 693 w 1932"/>
                <a:gd name="T65" fmla="*/ 5 h 1371"/>
                <a:gd name="T66" fmla="*/ 713 w 1932"/>
                <a:gd name="T67" fmla="*/ 2 h 1371"/>
                <a:gd name="T68" fmla="*/ 1286 w 1932"/>
                <a:gd name="T69" fmla="*/ 191 h 1371"/>
                <a:gd name="T70" fmla="*/ 1790 w 1932"/>
                <a:gd name="T71" fmla="*/ 191 h 1371"/>
                <a:gd name="T72" fmla="*/ 1812 w 1932"/>
                <a:gd name="T73" fmla="*/ 213 h 1371"/>
                <a:gd name="T74" fmla="*/ 1812 w 1932"/>
                <a:gd name="T75" fmla="*/ 1124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2" h="1371">
                  <a:moveTo>
                    <a:pt x="1910" y="1227"/>
                  </a:moveTo>
                  <a:cubicBezTo>
                    <a:pt x="1834" y="1227"/>
                    <a:pt x="1834" y="1227"/>
                    <a:pt x="1834" y="1227"/>
                  </a:cubicBezTo>
                  <a:cubicBezTo>
                    <a:pt x="1834" y="1190"/>
                    <a:pt x="1834" y="1190"/>
                    <a:pt x="1834" y="1190"/>
                  </a:cubicBezTo>
                  <a:cubicBezTo>
                    <a:pt x="1834" y="1178"/>
                    <a:pt x="1824" y="1168"/>
                    <a:pt x="1812" y="1168"/>
                  </a:cubicBezTo>
                  <a:cubicBezTo>
                    <a:pt x="120" y="1168"/>
                    <a:pt x="120" y="1168"/>
                    <a:pt x="120" y="1168"/>
                  </a:cubicBezTo>
                  <a:cubicBezTo>
                    <a:pt x="108" y="1168"/>
                    <a:pt x="98" y="1178"/>
                    <a:pt x="98" y="1190"/>
                  </a:cubicBezTo>
                  <a:cubicBezTo>
                    <a:pt x="98" y="1227"/>
                    <a:pt x="98" y="1227"/>
                    <a:pt x="98" y="1227"/>
                  </a:cubicBezTo>
                  <a:cubicBezTo>
                    <a:pt x="22" y="1227"/>
                    <a:pt x="22" y="1227"/>
                    <a:pt x="22" y="1227"/>
                  </a:cubicBezTo>
                  <a:cubicBezTo>
                    <a:pt x="9" y="1227"/>
                    <a:pt x="0" y="1237"/>
                    <a:pt x="0" y="1249"/>
                  </a:cubicBezTo>
                  <a:cubicBezTo>
                    <a:pt x="0" y="1349"/>
                    <a:pt x="0" y="1349"/>
                    <a:pt x="0" y="1349"/>
                  </a:cubicBezTo>
                  <a:cubicBezTo>
                    <a:pt x="0" y="1361"/>
                    <a:pt x="9" y="1371"/>
                    <a:pt x="22" y="1371"/>
                  </a:cubicBezTo>
                  <a:cubicBezTo>
                    <a:pt x="1910" y="1371"/>
                    <a:pt x="1910" y="1371"/>
                    <a:pt x="1910" y="1371"/>
                  </a:cubicBezTo>
                  <a:cubicBezTo>
                    <a:pt x="1923" y="1371"/>
                    <a:pt x="1932" y="1361"/>
                    <a:pt x="1932" y="1349"/>
                  </a:cubicBezTo>
                  <a:cubicBezTo>
                    <a:pt x="1932" y="1249"/>
                    <a:pt x="1932" y="1249"/>
                    <a:pt x="1932" y="1249"/>
                  </a:cubicBezTo>
                  <a:cubicBezTo>
                    <a:pt x="1932" y="1237"/>
                    <a:pt x="1923" y="1227"/>
                    <a:pt x="1910" y="1227"/>
                  </a:cubicBezTo>
                  <a:close/>
                  <a:moveTo>
                    <a:pt x="1812" y="1124"/>
                  </a:moveTo>
                  <a:cubicBezTo>
                    <a:pt x="1768" y="1124"/>
                    <a:pt x="1768" y="1124"/>
                    <a:pt x="1768" y="1124"/>
                  </a:cubicBezTo>
                  <a:cubicBezTo>
                    <a:pt x="1768" y="235"/>
                    <a:pt x="1768" y="235"/>
                    <a:pt x="1768" y="235"/>
                  </a:cubicBezTo>
                  <a:cubicBezTo>
                    <a:pt x="1282" y="235"/>
                    <a:pt x="1282" y="235"/>
                    <a:pt x="1282" y="235"/>
                  </a:cubicBezTo>
                  <a:cubicBezTo>
                    <a:pt x="1280" y="235"/>
                    <a:pt x="1277" y="235"/>
                    <a:pt x="1275" y="234"/>
                  </a:cubicBezTo>
                  <a:cubicBezTo>
                    <a:pt x="728" y="53"/>
                    <a:pt x="728" y="53"/>
                    <a:pt x="728" y="53"/>
                  </a:cubicBezTo>
                  <a:cubicBezTo>
                    <a:pt x="728" y="211"/>
                    <a:pt x="728" y="211"/>
                    <a:pt x="728" y="211"/>
                  </a:cubicBezTo>
                  <a:cubicBezTo>
                    <a:pt x="728" y="218"/>
                    <a:pt x="725" y="225"/>
                    <a:pt x="719" y="229"/>
                  </a:cubicBezTo>
                  <a:cubicBezTo>
                    <a:pt x="713" y="233"/>
                    <a:pt x="706" y="234"/>
                    <a:pt x="699" y="232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1124"/>
                    <a:pt x="162" y="1124"/>
                    <a:pt x="162" y="1124"/>
                  </a:cubicBezTo>
                  <a:cubicBezTo>
                    <a:pt x="118" y="1124"/>
                    <a:pt x="118" y="1124"/>
                    <a:pt x="118" y="1124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16"/>
                    <a:pt x="121" y="9"/>
                    <a:pt x="127" y="5"/>
                  </a:cubicBezTo>
                  <a:cubicBezTo>
                    <a:pt x="133" y="1"/>
                    <a:pt x="140" y="0"/>
                    <a:pt x="147" y="2"/>
                  </a:cubicBezTo>
                  <a:cubicBezTo>
                    <a:pt x="684" y="181"/>
                    <a:pt x="684" y="181"/>
                    <a:pt x="684" y="181"/>
                  </a:cubicBezTo>
                  <a:cubicBezTo>
                    <a:pt x="684" y="23"/>
                    <a:pt x="684" y="23"/>
                    <a:pt x="684" y="23"/>
                  </a:cubicBezTo>
                  <a:cubicBezTo>
                    <a:pt x="684" y="16"/>
                    <a:pt x="687" y="9"/>
                    <a:pt x="693" y="5"/>
                  </a:cubicBezTo>
                  <a:cubicBezTo>
                    <a:pt x="699" y="1"/>
                    <a:pt x="706" y="0"/>
                    <a:pt x="713" y="2"/>
                  </a:cubicBezTo>
                  <a:cubicBezTo>
                    <a:pt x="1286" y="191"/>
                    <a:pt x="1286" y="191"/>
                    <a:pt x="1286" y="191"/>
                  </a:cubicBezTo>
                  <a:cubicBezTo>
                    <a:pt x="1790" y="191"/>
                    <a:pt x="1790" y="191"/>
                    <a:pt x="1790" y="191"/>
                  </a:cubicBezTo>
                  <a:cubicBezTo>
                    <a:pt x="1802" y="191"/>
                    <a:pt x="1812" y="201"/>
                    <a:pt x="1812" y="213"/>
                  </a:cubicBezTo>
                  <a:lnTo>
                    <a:pt x="1812" y="112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8BD08675-155E-49A9-82CB-D1679793E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" y="446"/>
              <a:ext cx="2802" cy="2854"/>
            </a:xfrm>
            <a:custGeom>
              <a:avLst/>
              <a:gdLst>
                <a:gd name="T0" fmla="*/ 1479 w 1496"/>
                <a:gd name="T1" fmla="*/ 604 h 1522"/>
                <a:gd name="T2" fmla="*/ 1209 w 1496"/>
                <a:gd name="T3" fmla="*/ 15 h 1522"/>
                <a:gd name="T4" fmla="*/ 1447 w 1496"/>
                <a:gd name="T5" fmla="*/ 15 h 1522"/>
                <a:gd name="T6" fmla="*/ 0 w 1496"/>
                <a:gd name="T7" fmla="*/ 915 h 1522"/>
                <a:gd name="T8" fmla="*/ 150 w 1496"/>
                <a:gd name="T9" fmla="*/ 915 h 1522"/>
                <a:gd name="T10" fmla="*/ 97 w 1496"/>
                <a:gd name="T11" fmla="*/ 862 h 1522"/>
                <a:gd name="T12" fmla="*/ 371 w 1496"/>
                <a:gd name="T13" fmla="*/ 840 h 1522"/>
                <a:gd name="T14" fmla="*/ 327 w 1496"/>
                <a:gd name="T15" fmla="*/ 991 h 1522"/>
                <a:gd name="T16" fmla="*/ 698 w 1496"/>
                <a:gd name="T17" fmla="*/ 915 h 1522"/>
                <a:gd name="T18" fmla="*/ 600 w 1496"/>
                <a:gd name="T19" fmla="*/ 1013 h 1522"/>
                <a:gd name="T20" fmla="*/ 600 w 1496"/>
                <a:gd name="T21" fmla="*/ 969 h 1522"/>
                <a:gd name="T22" fmla="*/ 654 w 1496"/>
                <a:gd name="T23" fmla="*/ 915 h 1522"/>
                <a:gd name="T24" fmla="*/ 852 w 1496"/>
                <a:gd name="T25" fmla="*/ 818 h 1522"/>
                <a:gd name="T26" fmla="*/ 852 w 1496"/>
                <a:gd name="T27" fmla="*/ 1013 h 1522"/>
                <a:gd name="T28" fmla="*/ 1125 w 1496"/>
                <a:gd name="T29" fmla="*/ 840 h 1522"/>
                <a:gd name="T30" fmla="*/ 1081 w 1496"/>
                <a:gd name="T31" fmla="*/ 991 h 1522"/>
                <a:gd name="T32" fmla="*/ 194 w 1496"/>
                <a:gd name="T33" fmla="*/ 1170 h 1522"/>
                <a:gd name="T34" fmla="*/ 97 w 1496"/>
                <a:gd name="T35" fmla="*/ 1267 h 1522"/>
                <a:gd name="T36" fmla="*/ 97 w 1496"/>
                <a:gd name="T37" fmla="*/ 1223 h 1522"/>
                <a:gd name="T38" fmla="*/ 150 w 1496"/>
                <a:gd name="T39" fmla="*/ 1170 h 1522"/>
                <a:gd name="T40" fmla="*/ 251 w 1496"/>
                <a:gd name="T41" fmla="*/ 1170 h 1522"/>
                <a:gd name="T42" fmla="*/ 402 w 1496"/>
                <a:gd name="T43" fmla="*/ 1170 h 1522"/>
                <a:gd name="T44" fmla="*/ 349 w 1496"/>
                <a:gd name="T45" fmla="*/ 1117 h 1522"/>
                <a:gd name="T46" fmla="*/ 852 w 1496"/>
                <a:gd name="T47" fmla="*/ 1073 h 1522"/>
                <a:gd name="T48" fmla="*/ 949 w 1496"/>
                <a:gd name="T49" fmla="*/ 1170 h 1522"/>
                <a:gd name="T50" fmla="*/ 798 w 1496"/>
                <a:gd name="T51" fmla="*/ 1170 h 1522"/>
                <a:gd name="T52" fmla="*/ 622 w 1496"/>
                <a:gd name="T53" fmla="*/ 1245 h 1522"/>
                <a:gd name="T54" fmla="*/ 578 w 1496"/>
                <a:gd name="T55" fmla="*/ 1095 h 1522"/>
                <a:gd name="T56" fmla="*/ 622 w 1496"/>
                <a:gd name="T57" fmla="*/ 1245 h 1522"/>
                <a:gd name="T58" fmla="*/ 1103 w 1496"/>
                <a:gd name="T59" fmla="*/ 1073 h 1522"/>
                <a:gd name="T60" fmla="*/ 1103 w 1496"/>
                <a:gd name="T61" fmla="*/ 1267 h 1522"/>
                <a:gd name="T62" fmla="*/ 349 w 1496"/>
                <a:gd name="T63" fmla="*/ 1327 h 1522"/>
                <a:gd name="T64" fmla="*/ 446 w 1496"/>
                <a:gd name="T65" fmla="*/ 1425 h 1522"/>
                <a:gd name="T66" fmla="*/ 295 w 1496"/>
                <a:gd name="T67" fmla="*/ 1425 h 1522"/>
                <a:gd name="T68" fmla="*/ 1201 w 1496"/>
                <a:gd name="T69" fmla="*/ 1425 h 1522"/>
                <a:gd name="T70" fmla="*/ 1103 w 1496"/>
                <a:gd name="T71" fmla="*/ 1522 h 1522"/>
                <a:gd name="T72" fmla="*/ 1103 w 1496"/>
                <a:gd name="T73" fmla="*/ 1478 h 1522"/>
                <a:gd name="T74" fmla="*/ 1157 w 1496"/>
                <a:gd name="T75" fmla="*/ 1425 h 1522"/>
                <a:gd name="T76" fmla="*/ 600 w 1496"/>
                <a:gd name="T77" fmla="*/ 1327 h 1522"/>
                <a:gd name="T78" fmla="*/ 600 w 1496"/>
                <a:gd name="T79" fmla="*/ 1522 h 1522"/>
                <a:gd name="T80" fmla="*/ 119 w 1496"/>
                <a:gd name="T81" fmla="*/ 1349 h 1522"/>
                <a:gd name="T82" fmla="*/ 75 w 1496"/>
                <a:gd name="T83" fmla="*/ 1500 h 1522"/>
                <a:gd name="T84" fmla="*/ 874 w 1496"/>
                <a:gd name="T85" fmla="*/ 1500 h 1522"/>
                <a:gd name="T86" fmla="*/ 830 w 1496"/>
                <a:gd name="T87" fmla="*/ 1349 h 1522"/>
                <a:gd name="T88" fmla="*/ 874 w 1496"/>
                <a:gd name="T89" fmla="*/ 1500 h 1522"/>
                <a:gd name="T90" fmla="*/ 1355 w 1496"/>
                <a:gd name="T91" fmla="*/ 818 h 1522"/>
                <a:gd name="T92" fmla="*/ 1355 w 1496"/>
                <a:gd name="T93" fmla="*/ 1013 h 1522"/>
                <a:gd name="T94" fmla="*/ 1355 w 1496"/>
                <a:gd name="T95" fmla="*/ 1073 h 1522"/>
                <a:gd name="T96" fmla="*/ 1452 w 1496"/>
                <a:gd name="T97" fmla="*/ 1170 h 1522"/>
                <a:gd name="T98" fmla="*/ 1302 w 1496"/>
                <a:gd name="T99" fmla="*/ 1170 h 1522"/>
                <a:gd name="T100" fmla="*/ 1377 w 1496"/>
                <a:gd name="T101" fmla="*/ 1500 h 1522"/>
                <a:gd name="T102" fmla="*/ 1333 w 1496"/>
                <a:gd name="T103" fmla="*/ 1349 h 1522"/>
                <a:gd name="T104" fmla="*/ 1377 w 1496"/>
                <a:gd name="T105" fmla="*/ 1500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96" h="1522">
                  <a:moveTo>
                    <a:pt x="1447" y="15"/>
                  </a:moveTo>
                  <a:cubicBezTo>
                    <a:pt x="1495" y="587"/>
                    <a:pt x="1495" y="587"/>
                    <a:pt x="1495" y="587"/>
                  </a:cubicBezTo>
                  <a:cubicBezTo>
                    <a:pt x="1496" y="596"/>
                    <a:pt x="1488" y="604"/>
                    <a:pt x="1479" y="604"/>
                  </a:cubicBezTo>
                  <a:cubicBezTo>
                    <a:pt x="1177" y="604"/>
                    <a:pt x="1177" y="604"/>
                    <a:pt x="1177" y="604"/>
                  </a:cubicBezTo>
                  <a:cubicBezTo>
                    <a:pt x="1167" y="604"/>
                    <a:pt x="1160" y="596"/>
                    <a:pt x="1161" y="587"/>
                  </a:cubicBezTo>
                  <a:cubicBezTo>
                    <a:pt x="1209" y="15"/>
                    <a:pt x="1209" y="15"/>
                    <a:pt x="1209" y="15"/>
                  </a:cubicBezTo>
                  <a:cubicBezTo>
                    <a:pt x="1210" y="6"/>
                    <a:pt x="1217" y="0"/>
                    <a:pt x="1225" y="0"/>
                  </a:cubicBezTo>
                  <a:cubicBezTo>
                    <a:pt x="1431" y="0"/>
                    <a:pt x="1431" y="0"/>
                    <a:pt x="1431" y="0"/>
                  </a:cubicBezTo>
                  <a:cubicBezTo>
                    <a:pt x="1439" y="0"/>
                    <a:pt x="1446" y="6"/>
                    <a:pt x="1447" y="15"/>
                  </a:cubicBezTo>
                  <a:close/>
                  <a:moveTo>
                    <a:pt x="194" y="915"/>
                  </a:moveTo>
                  <a:cubicBezTo>
                    <a:pt x="194" y="862"/>
                    <a:pt x="151" y="818"/>
                    <a:pt x="97" y="818"/>
                  </a:cubicBezTo>
                  <a:cubicBezTo>
                    <a:pt x="43" y="818"/>
                    <a:pt x="0" y="862"/>
                    <a:pt x="0" y="915"/>
                  </a:cubicBezTo>
                  <a:cubicBezTo>
                    <a:pt x="0" y="969"/>
                    <a:pt x="43" y="1013"/>
                    <a:pt x="97" y="1013"/>
                  </a:cubicBezTo>
                  <a:cubicBezTo>
                    <a:pt x="151" y="1013"/>
                    <a:pt x="194" y="969"/>
                    <a:pt x="194" y="915"/>
                  </a:cubicBezTo>
                  <a:close/>
                  <a:moveTo>
                    <a:pt x="150" y="915"/>
                  </a:moveTo>
                  <a:cubicBezTo>
                    <a:pt x="150" y="945"/>
                    <a:pt x="126" y="969"/>
                    <a:pt x="97" y="969"/>
                  </a:cubicBezTo>
                  <a:cubicBezTo>
                    <a:pt x="68" y="969"/>
                    <a:pt x="44" y="945"/>
                    <a:pt x="44" y="915"/>
                  </a:cubicBezTo>
                  <a:cubicBezTo>
                    <a:pt x="44" y="886"/>
                    <a:pt x="68" y="862"/>
                    <a:pt x="97" y="862"/>
                  </a:cubicBezTo>
                  <a:cubicBezTo>
                    <a:pt x="126" y="862"/>
                    <a:pt x="150" y="886"/>
                    <a:pt x="150" y="915"/>
                  </a:cubicBezTo>
                  <a:close/>
                  <a:moveTo>
                    <a:pt x="371" y="991"/>
                  </a:moveTo>
                  <a:cubicBezTo>
                    <a:pt x="371" y="840"/>
                    <a:pt x="371" y="840"/>
                    <a:pt x="371" y="840"/>
                  </a:cubicBezTo>
                  <a:cubicBezTo>
                    <a:pt x="371" y="828"/>
                    <a:pt x="361" y="818"/>
                    <a:pt x="349" y="818"/>
                  </a:cubicBezTo>
                  <a:cubicBezTo>
                    <a:pt x="336" y="818"/>
                    <a:pt x="327" y="828"/>
                    <a:pt x="327" y="840"/>
                  </a:cubicBezTo>
                  <a:cubicBezTo>
                    <a:pt x="327" y="991"/>
                    <a:pt x="327" y="991"/>
                    <a:pt x="327" y="991"/>
                  </a:cubicBezTo>
                  <a:cubicBezTo>
                    <a:pt x="327" y="1003"/>
                    <a:pt x="336" y="1013"/>
                    <a:pt x="349" y="1013"/>
                  </a:cubicBezTo>
                  <a:cubicBezTo>
                    <a:pt x="361" y="1013"/>
                    <a:pt x="371" y="1003"/>
                    <a:pt x="371" y="991"/>
                  </a:cubicBezTo>
                  <a:close/>
                  <a:moveTo>
                    <a:pt x="698" y="915"/>
                  </a:moveTo>
                  <a:cubicBezTo>
                    <a:pt x="698" y="862"/>
                    <a:pt x="654" y="818"/>
                    <a:pt x="600" y="818"/>
                  </a:cubicBezTo>
                  <a:cubicBezTo>
                    <a:pt x="546" y="818"/>
                    <a:pt x="503" y="862"/>
                    <a:pt x="503" y="915"/>
                  </a:cubicBezTo>
                  <a:cubicBezTo>
                    <a:pt x="503" y="969"/>
                    <a:pt x="546" y="1013"/>
                    <a:pt x="600" y="1013"/>
                  </a:cubicBezTo>
                  <a:cubicBezTo>
                    <a:pt x="654" y="1013"/>
                    <a:pt x="698" y="969"/>
                    <a:pt x="698" y="915"/>
                  </a:cubicBezTo>
                  <a:close/>
                  <a:moveTo>
                    <a:pt x="654" y="915"/>
                  </a:moveTo>
                  <a:cubicBezTo>
                    <a:pt x="654" y="945"/>
                    <a:pt x="630" y="969"/>
                    <a:pt x="600" y="969"/>
                  </a:cubicBezTo>
                  <a:cubicBezTo>
                    <a:pt x="571" y="969"/>
                    <a:pt x="547" y="945"/>
                    <a:pt x="547" y="915"/>
                  </a:cubicBezTo>
                  <a:cubicBezTo>
                    <a:pt x="547" y="886"/>
                    <a:pt x="571" y="862"/>
                    <a:pt x="600" y="862"/>
                  </a:cubicBezTo>
                  <a:cubicBezTo>
                    <a:pt x="630" y="862"/>
                    <a:pt x="654" y="886"/>
                    <a:pt x="654" y="915"/>
                  </a:cubicBezTo>
                  <a:close/>
                  <a:moveTo>
                    <a:pt x="874" y="991"/>
                  </a:moveTo>
                  <a:cubicBezTo>
                    <a:pt x="874" y="840"/>
                    <a:pt x="874" y="840"/>
                    <a:pt x="874" y="840"/>
                  </a:cubicBezTo>
                  <a:cubicBezTo>
                    <a:pt x="874" y="828"/>
                    <a:pt x="864" y="818"/>
                    <a:pt x="852" y="818"/>
                  </a:cubicBezTo>
                  <a:cubicBezTo>
                    <a:pt x="840" y="818"/>
                    <a:pt x="830" y="828"/>
                    <a:pt x="830" y="840"/>
                  </a:cubicBezTo>
                  <a:cubicBezTo>
                    <a:pt x="830" y="991"/>
                    <a:pt x="830" y="991"/>
                    <a:pt x="830" y="991"/>
                  </a:cubicBezTo>
                  <a:cubicBezTo>
                    <a:pt x="830" y="1003"/>
                    <a:pt x="840" y="1013"/>
                    <a:pt x="852" y="1013"/>
                  </a:cubicBezTo>
                  <a:cubicBezTo>
                    <a:pt x="864" y="1013"/>
                    <a:pt x="874" y="1003"/>
                    <a:pt x="874" y="991"/>
                  </a:cubicBezTo>
                  <a:close/>
                  <a:moveTo>
                    <a:pt x="1125" y="991"/>
                  </a:moveTo>
                  <a:cubicBezTo>
                    <a:pt x="1125" y="840"/>
                    <a:pt x="1125" y="840"/>
                    <a:pt x="1125" y="840"/>
                  </a:cubicBezTo>
                  <a:cubicBezTo>
                    <a:pt x="1125" y="828"/>
                    <a:pt x="1116" y="818"/>
                    <a:pt x="1103" y="818"/>
                  </a:cubicBezTo>
                  <a:cubicBezTo>
                    <a:pt x="1091" y="818"/>
                    <a:pt x="1081" y="828"/>
                    <a:pt x="1081" y="840"/>
                  </a:cubicBezTo>
                  <a:cubicBezTo>
                    <a:pt x="1081" y="991"/>
                    <a:pt x="1081" y="991"/>
                    <a:pt x="1081" y="991"/>
                  </a:cubicBezTo>
                  <a:cubicBezTo>
                    <a:pt x="1081" y="1003"/>
                    <a:pt x="1091" y="1013"/>
                    <a:pt x="1103" y="1013"/>
                  </a:cubicBezTo>
                  <a:cubicBezTo>
                    <a:pt x="1116" y="1013"/>
                    <a:pt x="1125" y="1003"/>
                    <a:pt x="1125" y="991"/>
                  </a:cubicBezTo>
                  <a:close/>
                  <a:moveTo>
                    <a:pt x="194" y="1170"/>
                  </a:moveTo>
                  <a:cubicBezTo>
                    <a:pt x="194" y="1116"/>
                    <a:pt x="151" y="1073"/>
                    <a:pt x="97" y="1073"/>
                  </a:cubicBezTo>
                  <a:cubicBezTo>
                    <a:pt x="43" y="1073"/>
                    <a:pt x="0" y="1116"/>
                    <a:pt x="0" y="1170"/>
                  </a:cubicBezTo>
                  <a:cubicBezTo>
                    <a:pt x="0" y="1224"/>
                    <a:pt x="43" y="1267"/>
                    <a:pt x="97" y="1267"/>
                  </a:cubicBezTo>
                  <a:cubicBezTo>
                    <a:pt x="151" y="1267"/>
                    <a:pt x="194" y="1224"/>
                    <a:pt x="194" y="1170"/>
                  </a:cubicBezTo>
                  <a:close/>
                  <a:moveTo>
                    <a:pt x="150" y="1170"/>
                  </a:moveTo>
                  <a:cubicBezTo>
                    <a:pt x="150" y="1199"/>
                    <a:pt x="126" y="1223"/>
                    <a:pt x="97" y="1223"/>
                  </a:cubicBezTo>
                  <a:cubicBezTo>
                    <a:pt x="68" y="1223"/>
                    <a:pt x="44" y="1199"/>
                    <a:pt x="44" y="1170"/>
                  </a:cubicBezTo>
                  <a:cubicBezTo>
                    <a:pt x="44" y="1141"/>
                    <a:pt x="68" y="1117"/>
                    <a:pt x="97" y="1117"/>
                  </a:cubicBezTo>
                  <a:cubicBezTo>
                    <a:pt x="126" y="1117"/>
                    <a:pt x="150" y="1141"/>
                    <a:pt x="150" y="1170"/>
                  </a:cubicBezTo>
                  <a:close/>
                  <a:moveTo>
                    <a:pt x="446" y="1170"/>
                  </a:moveTo>
                  <a:cubicBezTo>
                    <a:pt x="446" y="1116"/>
                    <a:pt x="402" y="1073"/>
                    <a:pt x="349" y="1073"/>
                  </a:cubicBezTo>
                  <a:cubicBezTo>
                    <a:pt x="295" y="1073"/>
                    <a:pt x="251" y="1116"/>
                    <a:pt x="251" y="1170"/>
                  </a:cubicBezTo>
                  <a:cubicBezTo>
                    <a:pt x="251" y="1224"/>
                    <a:pt x="295" y="1267"/>
                    <a:pt x="349" y="1267"/>
                  </a:cubicBezTo>
                  <a:cubicBezTo>
                    <a:pt x="402" y="1267"/>
                    <a:pt x="446" y="1224"/>
                    <a:pt x="446" y="1170"/>
                  </a:cubicBezTo>
                  <a:close/>
                  <a:moveTo>
                    <a:pt x="402" y="1170"/>
                  </a:moveTo>
                  <a:cubicBezTo>
                    <a:pt x="402" y="1199"/>
                    <a:pt x="378" y="1223"/>
                    <a:pt x="349" y="1223"/>
                  </a:cubicBezTo>
                  <a:cubicBezTo>
                    <a:pt x="319" y="1223"/>
                    <a:pt x="295" y="1199"/>
                    <a:pt x="295" y="1170"/>
                  </a:cubicBezTo>
                  <a:cubicBezTo>
                    <a:pt x="295" y="1141"/>
                    <a:pt x="319" y="1117"/>
                    <a:pt x="349" y="1117"/>
                  </a:cubicBezTo>
                  <a:cubicBezTo>
                    <a:pt x="378" y="1117"/>
                    <a:pt x="402" y="1141"/>
                    <a:pt x="402" y="1170"/>
                  </a:cubicBezTo>
                  <a:close/>
                  <a:moveTo>
                    <a:pt x="949" y="1170"/>
                  </a:moveTo>
                  <a:cubicBezTo>
                    <a:pt x="949" y="1116"/>
                    <a:pt x="906" y="1073"/>
                    <a:pt x="852" y="1073"/>
                  </a:cubicBezTo>
                  <a:cubicBezTo>
                    <a:pt x="798" y="1073"/>
                    <a:pt x="754" y="1116"/>
                    <a:pt x="754" y="1170"/>
                  </a:cubicBezTo>
                  <a:cubicBezTo>
                    <a:pt x="754" y="1224"/>
                    <a:pt x="798" y="1267"/>
                    <a:pt x="852" y="1267"/>
                  </a:cubicBezTo>
                  <a:cubicBezTo>
                    <a:pt x="906" y="1267"/>
                    <a:pt x="949" y="1224"/>
                    <a:pt x="949" y="1170"/>
                  </a:cubicBezTo>
                  <a:close/>
                  <a:moveTo>
                    <a:pt x="905" y="1170"/>
                  </a:moveTo>
                  <a:cubicBezTo>
                    <a:pt x="905" y="1199"/>
                    <a:pt x="881" y="1223"/>
                    <a:pt x="852" y="1223"/>
                  </a:cubicBezTo>
                  <a:cubicBezTo>
                    <a:pt x="822" y="1223"/>
                    <a:pt x="798" y="1199"/>
                    <a:pt x="798" y="1170"/>
                  </a:cubicBezTo>
                  <a:cubicBezTo>
                    <a:pt x="798" y="1141"/>
                    <a:pt x="822" y="1117"/>
                    <a:pt x="852" y="1117"/>
                  </a:cubicBezTo>
                  <a:cubicBezTo>
                    <a:pt x="881" y="1117"/>
                    <a:pt x="905" y="1141"/>
                    <a:pt x="905" y="1170"/>
                  </a:cubicBezTo>
                  <a:close/>
                  <a:moveTo>
                    <a:pt x="622" y="1245"/>
                  </a:moveTo>
                  <a:cubicBezTo>
                    <a:pt x="622" y="1095"/>
                    <a:pt x="622" y="1095"/>
                    <a:pt x="622" y="1095"/>
                  </a:cubicBezTo>
                  <a:cubicBezTo>
                    <a:pt x="622" y="1082"/>
                    <a:pt x="612" y="1073"/>
                    <a:pt x="600" y="1073"/>
                  </a:cubicBezTo>
                  <a:cubicBezTo>
                    <a:pt x="588" y="1073"/>
                    <a:pt x="578" y="1082"/>
                    <a:pt x="578" y="1095"/>
                  </a:cubicBezTo>
                  <a:cubicBezTo>
                    <a:pt x="578" y="1245"/>
                    <a:pt x="578" y="1245"/>
                    <a:pt x="578" y="1245"/>
                  </a:cubicBezTo>
                  <a:cubicBezTo>
                    <a:pt x="578" y="1258"/>
                    <a:pt x="588" y="1267"/>
                    <a:pt x="600" y="1267"/>
                  </a:cubicBezTo>
                  <a:cubicBezTo>
                    <a:pt x="612" y="1267"/>
                    <a:pt x="622" y="1258"/>
                    <a:pt x="622" y="1245"/>
                  </a:cubicBezTo>
                  <a:close/>
                  <a:moveTo>
                    <a:pt x="1125" y="1245"/>
                  </a:moveTo>
                  <a:cubicBezTo>
                    <a:pt x="1125" y="1095"/>
                    <a:pt x="1125" y="1095"/>
                    <a:pt x="1125" y="1095"/>
                  </a:cubicBezTo>
                  <a:cubicBezTo>
                    <a:pt x="1125" y="1082"/>
                    <a:pt x="1116" y="1073"/>
                    <a:pt x="1103" y="1073"/>
                  </a:cubicBezTo>
                  <a:cubicBezTo>
                    <a:pt x="1091" y="1073"/>
                    <a:pt x="1081" y="1082"/>
                    <a:pt x="1081" y="1095"/>
                  </a:cubicBezTo>
                  <a:cubicBezTo>
                    <a:pt x="1081" y="1245"/>
                    <a:pt x="1081" y="1245"/>
                    <a:pt x="1081" y="1245"/>
                  </a:cubicBezTo>
                  <a:cubicBezTo>
                    <a:pt x="1081" y="1258"/>
                    <a:pt x="1091" y="1267"/>
                    <a:pt x="1103" y="1267"/>
                  </a:cubicBezTo>
                  <a:cubicBezTo>
                    <a:pt x="1116" y="1267"/>
                    <a:pt x="1125" y="1258"/>
                    <a:pt x="1125" y="1245"/>
                  </a:cubicBezTo>
                  <a:close/>
                  <a:moveTo>
                    <a:pt x="446" y="1425"/>
                  </a:moveTo>
                  <a:cubicBezTo>
                    <a:pt x="446" y="1371"/>
                    <a:pt x="402" y="1327"/>
                    <a:pt x="349" y="1327"/>
                  </a:cubicBezTo>
                  <a:cubicBezTo>
                    <a:pt x="295" y="1327"/>
                    <a:pt x="251" y="1371"/>
                    <a:pt x="251" y="1425"/>
                  </a:cubicBezTo>
                  <a:cubicBezTo>
                    <a:pt x="251" y="1478"/>
                    <a:pt x="295" y="1522"/>
                    <a:pt x="349" y="1522"/>
                  </a:cubicBezTo>
                  <a:cubicBezTo>
                    <a:pt x="402" y="1522"/>
                    <a:pt x="446" y="1478"/>
                    <a:pt x="446" y="1425"/>
                  </a:cubicBezTo>
                  <a:close/>
                  <a:moveTo>
                    <a:pt x="402" y="1425"/>
                  </a:moveTo>
                  <a:cubicBezTo>
                    <a:pt x="402" y="1454"/>
                    <a:pt x="378" y="1478"/>
                    <a:pt x="349" y="1478"/>
                  </a:cubicBezTo>
                  <a:cubicBezTo>
                    <a:pt x="319" y="1478"/>
                    <a:pt x="295" y="1454"/>
                    <a:pt x="295" y="1425"/>
                  </a:cubicBezTo>
                  <a:cubicBezTo>
                    <a:pt x="295" y="1395"/>
                    <a:pt x="319" y="1371"/>
                    <a:pt x="349" y="1371"/>
                  </a:cubicBezTo>
                  <a:cubicBezTo>
                    <a:pt x="378" y="1371"/>
                    <a:pt x="402" y="1395"/>
                    <a:pt x="402" y="1425"/>
                  </a:cubicBezTo>
                  <a:close/>
                  <a:moveTo>
                    <a:pt x="1201" y="1425"/>
                  </a:moveTo>
                  <a:cubicBezTo>
                    <a:pt x="1201" y="1371"/>
                    <a:pt x="1157" y="1327"/>
                    <a:pt x="1103" y="1327"/>
                  </a:cubicBezTo>
                  <a:cubicBezTo>
                    <a:pt x="1050" y="1327"/>
                    <a:pt x="1006" y="1371"/>
                    <a:pt x="1006" y="1425"/>
                  </a:cubicBezTo>
                  <a:cubicBezTo>
                    <a:pt x="1006" y="1478"/>
                    <a:pt x="1050" y="1522"/>
                    <a:pt x="1103" y="1522"/>
                  </a:cubicBezTo>
                  <a:cubicBezTo>
                    <a:pt x="1157" y="1522"/>
                    <a:pt x="1201" y="1478"/>
                    <a:pt x="1201" y="1425"/>
                  </a:cubicBezTo>
                  <a:close/>
                  <a:moveTo>
                    <a:pt x="1157" y="1425"/>
                  </a:moveTo>
                  <a:cubicBezTo>
                    <a:pt x="1157" y="1454"/>
                    <a:pt x="1133" y="1478"/>
                    <a:pt x="1103" y="1478"/>
                  </a:cubicBezTo>
                  <a:cubicBezTo>
                    <a:pt x="1074" y="1478"/>
                    <a:pt x="1050" y="1454"/>
                    <a:pt x="1050" y="1425"/>
                  </a:cubicBezTo>
                  <a:cubicBezTo>
                    <a:pt x="1050" y="1395"/>
                    <a:pt x="1074" y="1371"/>
                    <a:pt x="1103" y="1371"/>
                  </a:cubicBezTo>
                  <a:cubicBezTo>
                    <a:pt x="1133" y="1371"/>
                    <a:pt x="1157" y="1395"/>
                    <a:pt x="1157" y="1425"/>
                  </a:cubicBezTo>
                  <a:close/>
                  <a:moveTo>
                    <a:pt x="622" y="1500"/>
                  </a:moveTo>
                  <a:cubicBezTo>
                    <a:pt x="622" y="1349"/>
                    <a:pt x="622" y="1349"/>
                    <a:pt x="622" y="1349"/>
                  </a:cubicBezTo>
                  <a:cubicBezTo>
                    <a:pt x="622" y="1337"/>
                    <a:pt x="612" y="1327"/>
                    <a:pt x="600" y="1327"/>
                  </a:cubicBezTo>
                  <a:cubicBezTo>
                    <a:pt x="588" y="1327"/>
                    <a:pt x="578" y="1337"/>
                    <a:pt x="578" y="1349"/>
                  </a:cubicBezTo>
                  <a:cubicBezTo>
                    <a:pt x="578" y="1500"/>
                    <a:pt x="578" y="1500"/>
                    <a:pt x="578" y="1500"/>
                  </a:cubicBezTo>
                  <a:cubicBezTo>
                    <a:pt x="578" y="1512"/>
                    <a:pt x="588" y="1522"/>
                    <a:pt x="600" y="1522"/>
                  </a:cubicBezTo>
                  <a:cubicBezTo>
                    <a:pt x="612" y="1522"/>
                    <a:pt x="622" y="1512"/>
                    <a:pt x="622" y="1500"/>
                  </a:cubicBezTo>
                  <a:close/>
                  <a:moveTo>
                    <a:pt x="119" y="1500"/>
                  </a:moveTo>
                  <a:cubicBezTo>
                    <a:pt x="119" y="1349"/>
                    <a:pt x="119" y="1349"/>
                    <a:pt x="119" y="1349"/>
                  </a:cubicBezTo>
                  <a:cubicBezTo>
                    <a:pt x="119" y="1337"/>
                    <a:pt x="109" y="1327"/>
                    <a:pt x="97" y="1327"/>
                  </a:cubicBezTo>
                  <a:cubicBezTo>
                    <a:pt x="85" y="1327"/>
                    <a:pt x="75" y="1337"/>
                    <a:pt x="75" y="1349"/>
                  </a:cubicBezTo>
                  <a:cubicBezTo>
                    <a:pt x="75" y="1500"/>
                    <a:pt x="75" y="1500"/>
                    <a:pt x="75" y="1500"/>
                  </a:cubicBezTo>
                  <a:cubicBezTo>
                    <a:pt x="75" y="1512"/>
                    <a:pt x="85" y="1522"/>
                    <a:pt x="97" y="1522"/>
                  </a:cubicBezTo>
                  <a:cubicBezTo>
                    <a:pt x="109" y="1522"/>
                    <a:pt x="119" y="1512"/>
                    <a:pt x="119" y="1500"/>
                  </a:cubicBezTo>
                  <a:close/>
                  <a:moveTo>
                    <a:pt x="874" y="1500"/>
                  </a:moveTo>
                  <a:cubicBezTo>
                    <a:pt x="874" y="1349"/>
                    <a:pt x="874" y="1349"/>
                    <a:pt x="874" y="1349"/>
                  </a:cubicBezTo>
                  <a:cubicBezTo>
                    <a:pt x="874" y="1337"/>
                    <a:pt x="864" y="1327"/>
                    <a:pt x="852" y="1327"/>
                  </a:cubicBezTo>
                  <a:cubicBezTo>
                    <a:pt x="840" y="1327"/>
                    <a:pt x="830" y="1337"/>
                    <a:pt x="830" y="1349"/>
                  </a:cubicBezTo>
                  <a:cubicBezTo>
                    <a:pt x="830" y="1500"/>
                    <a:pt x="830" y="1500"/>
                    <a:pt x="830" y="1500"/>
                  </a:cubicBezTo>
                  <a:cubicBezTo>
                    <a:pt x="830" y="1512"/>
                    <a:pt x="840" y="1522"/>
                    <a:pt x="852" y="1522"/>
                  </a:cubicBezTo>
                  <a:cubicBezTo>
                    <a:pt x="864" y="1522"/>
                    <a:pt x="874" y="1512"/>
                    <a:pt x="874" y="1500"/>
                  </a:cubicBezTo>
                  <a:close/>
                  <a:moveTo>
                    <a:pt x="1377" y="991"/>
                  </a:moveTo>
                  <a:cubicBezTo>
                    <a:pt x="1377" y="840"/>
                    <a:pt x="1377" y="840"/>
                    <a:pt x="1377" y="840"/>
                  </a:cubicBezTo>
                  <a:cubicBezTo>
                    <a:pt x="1377" y="828"/>
                    <a:pt x="1367" y="818"/>
                    <a:pt x="1355" y="818"/>
                  </a:cubicBezTo>
                  <a:cubicBezTo>
                    <a:pt x="1343" y="818"/>
                    <a:pt x="1333" y="828"/>
                    <a:pt x="1333" y="840"/>
                  </a:cubicBezTo>
                  <a:cubicBezTo>
                    <a:pt x="1333" y="991"/>
                    <a:pt x="1333" y="991"/>
                    <a:pt x="1333" y="991"/>
                  </a:cubicBezTo>
                  <a:cubicBezTo>
                    <a:pt x="1333" y="1003"/>
                    <a:pt x="1343" y="1013"/>
                    <a:pt x="1355" y="1013"/>
                  </a:cubicBezTo>
                  <a:cubicBezTo>
                    <a:pt x="1367" y="1013"/>
                    <a:pt x="1377" y="1003"/>
                    <a:pt x="1377" y="991"/>
                  </a:cubicBezTo>
                  <a:close/>
                  <a:moveTo>
                    <a:pt x="1452" y="1170"/>
                  </a:moveTo>
                  <a:cubicBezTo>
                    <a:pt x="1452" y="1116"/>
                    <a:pt x="1409" y="1073"/>
                    <a:pt x="1355" y="1073"/>
                  </a:cubicBezTo>
                  <a:cubicBezTo>
                    <a:pt x="1301" y="1073"/>
                    <a:pt x="1258" y="1116"/>
                    <a:pt x="1258" y="1170"/>
                  </a:cubicBezTo>
                  <a:cubicBezTo>
                    <a:pt x="1258" y="1224"/>
                    <a:pt x="1301" y="1267"/>
                    <a:pt x="1355" y="1267"/>
                  </a:cubicBezTo>
                  <a:cubicBezTo>
                    <a:pt x="1409" y="1267"/>
                    <a:pt x="1452" y="1224"/>
                    <a:pt x="1452" y="1170"/>
                  </a:cubicBezTo>
                  <a:close/>
                  <a:moveTo>
                    <a:pt x="1408" y="1170"/>
                  </a:moveTo>
                  <a:cubicBezTo>
                    <a:pt x="1408" y="1199"/>
                    <a:pt x="1384" y="1223"/>
                    <a:pt x="1355" y="1223"/>
                  </a:cubicBezTo>
                  <a:cubicBezTo>
                    <a:pt x="1326" y="1223"/>
                    <a:pt x="1302" y="1199"/>
                    <a:pt x="1302" y="1170"/>
                  </a:cubicBezTo>
                  <a:cubicBezTo>
                    <a:pt x="1302" y="1141"/>
                    <a:pt x="1326" y="1117"/>
                    <a:pt x="1355" y="1117"/>
                  </a:cubicBezTo>
                  <a:cubicBezTo>
                    <a:pt x="1384" y="1117"/>
                    <a:pt x="1408" y="1141"/>
                    <a:pt x="1408" y="1170"/>
                  </a:cubicBezTo>
                  <a:close/>
                  <a:moveTo>
                    <a:pt x="1377" y="1500"/>
                  </a:moveTo>
                  <a:cubicBezTo>
                    <a:pt x="1377" y="1349"/>
                    <a:pt x="1377" y="1349"/>
                    <a:pt x="1377" y="1349"/>
                  </a:cubicBezTo>
                  <a:cubicBezTo>
                    <a:pt x="1377" y="1337"/>
                    <a:pt x="1367" y="1327"/>
                    <a:pt x="1355" y="1327"/>
                  </a:cubicBezTo>
                  <a:cubicBezTo>
                    <a:pt x="1343" y="1327"/>
                    <a:pt x="1333" y="1337"/>
                    <a:pt x="1333" y="1349"/>
                  </a:cubicBezTo>
                  <a:cubicBezTo>
                    <a:pt x="1333" y="1500"/>
                    <a:pt x="1333" y="1500"/>
                    <a:pt x="1333" y="1500"/>
                  </a:cubicBezTo>
                  <a:cubicBezTo>
                    <a:pt x="1333" y="1512"/>
                    <a:pt x="1343" y="1522"/>
                    <a:pt x="1355" y="1522"/>
                  </a:cubicBezTo>
                  <a:cubicBezTo>
                    <a:pt x="1367" y="1522"/>
                    <a:pt x="1377" y="1512"/>
                    <a:pt x="1377" y="150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</p:grpSp>
      <p:grpSp>
        <p:nvGrpSpPr>
          <p:cNvPr id="25" name="Gráfico 41" descr="Bolhas">
            <a:extLst>
              <a:ext uri="{FF2B5EF4-FFF2-40B4-BE49-F238E27FC236}">
                <a16:creationId xmlns:a16="http://schemas.microsoft.com/office/drawing/2014/main" id="{79F57BF4-6702-4B3E-B26A-4F033BB0BA7F}"/>
              </a:ext>
            </a:extLst>
          </p:cNvPr>
          <p:cNvGrpSpPr/>
          <p:nvPr/>
        </p:nvGrpSpPr>
        <p:grpSpPr>
          <a:xfrm>
            <a:off x="831582" y="4261751"/>
            <a:ext cx="673260" cy="673262"/>
            <a:chOff x="7679" y="4263427"/>
            <a:chExt cx="814715" cy="814715"/>
          </a:xfrm>
        </p:grpSpPr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C5EA6569-636E-47FC-B66A-10A4657F5826}"/>
                </a:ext>
              </a:extLst>
            </p:cNvPr>
            <p:cNvSpPr/>
            <p:nvPr/>
          </p:nvSpPr>
          <p:spPr>
            <a:xfrm>
              <a:off x="332292" y="4509539"/>
              <a:ext cx="246112" cy="237625"/>
            </a:xfrm>
            <a:custGeom>
              <a:avLst/>
              <a:gdLst>
                <a:gd name="connsiteX0" fmla="*/ 127299 w 246111"/>
                <a:gd name="connsiteY0" fmla="*/ 0 h 237625"/>
                <a:gd name="connsiteX1" fmla="*/ 0 w 246111"/>
                <a:gd name="connsiteY1" fmla="*/ 127299 h 237625"/>
                <a:gd name="connsiteX2" fmla="*/ 0 w 246111"/>
                <a:gd name="connsiteY2" fmla="*/ 135786 h 237625"/>
                <a:gd name="connsiteX3" fmla="*/ 169490 w 246111"/>
                <a:gd name="connsiteY3" fmla="*/ 194305 h 237625"/>
                <a:gd name="connsiteX4" fmla="*/ 182038 w 246111"/>
                <a:gd name="connsiteY4" fmla="*/ 242038 h 237625"/>
                <a:gd name="connsiteX5" fmla="*/ 241642 w 246111"/>
                <a:gd name="connsiteY5" fmla="*/ 72163 h 237625"/>
                <a:gd name="connsiteX6" fmla="*/ 127299 w 246111"/>
                <a:gd name="connsiteY6" fmla="*/ 0 h 237625"/>
                <a:gd name="connsiteX7" fmla="*/ 212165 w 246111"/>
                <a:gd name="connsiteY7" fmla="*/ 118813 h 237625"/>
                <a:gd name="connsiteX8" fmla="*/ 203679 w 246111"/>
                <a:gd name="connsiteY8" fmla="*/ 110326 h 237625"/>
                <a:gd name="connsiteX9" fmla="*/ 144272 w 246111"/>
                <a:gd name="connsiteY9" fmla="*/ 50920 h 237625"/>
                <a:gd name="connsiteX10" fmla="*/ 135786 w 246111"/>
                <a:gd name="connsiteY10" fmla="*/ 42433 h 237625"/>
                <a:gd name="connsiteX11" fmla="*/ 144272 w 246111"/>
                <a:gd name="connsiteY11" fmla="*/ 33946 h 237625"/>
                <a:gd name="connsiteX12" fmla="*/ 220652 w 246111"/>
                <a:gd name="connsiteY12" fmla="*/ 110326 h 237625"/>
                <a:gd name="connsiteX13" fmla="*/ 212165 w 246111"/>
                <a:gd name="connsiteY13" fmla="*/ 118813 h 23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6111" h="237625">
                  <a:moveTo>
                    <a:pt x="127299" y="0"/>
                  </a:moveTo>
                  <a:cubicBezTo>
                    <a:pt x="56994" y="0"/>
                    <a:pt x="0" y="56994"/>
                    <a:pt x="0" y="127299"/>
                  </a:cubicBezTo>
                  <a:cubicBezTo>
                    <a:pt x="0" y="130100"/>
                    <a:pt x="0" y="132816"/>
                    <a:pt x="0" y="135786"/>
                  </a:cubicBezTo>
                  <a:cubicBezTo>
                    <a:pt x="62963" y="105142"/>
                    <a:pt x="138846" y="131342"/>
                    <a:pt x="169490" y="194305"/>
                  </a:cubicBezTo>
                  <a:cubicBezTo>
                    <a:pt x="176759" y="209241"/>
                    <a:pt x="181022" y="225459"/>
                    <a:pt x="182038" y="242038"/>
                  </a:cubicBezTo>
                  <a:cubicBezTo>
                    <a:pt x="245407" y="211587"/>
                    <a:pt x="272093" y="135532"/>
                    <a:pt x="241642" y="72163"/>
                  </a:cubicBezTo>
                  <a:cubicBezTo>
                    <a:pt x="220509" y="28182"/>
                    <a:pt x="176094" y="152"/>
                    <a:pt x="127299" y="0"/>
                  </a:cubicBezTo>
                  <a:close/>
                  <a:moveTo>
                    <a:pt x="212165" y="118813"/>
                  </a:moveTo>
                  <a:cubicBezTo>
                    <a:pt x="207478" y="118813"/>
                    <a:pt x="203679" y="115013"/>
                    <a:pt x="203679" y="110326"/>
                  </a:cubicBezTo>
                  <a:cubicBezTo>
                    <a:pt x="203679" y="77517"/>
                    <a:pt x="177082" y="50920"/>
                    <a:pt x="144272" y="50920"/>
                  </a:cubicBezTo>
                  <a:cubicBezTo>
                    <a:pt x="139585" y="50920"/>
                    <a:pt x="135786" y="47120"/>
                    <a:pt x="135786" y="42433"/>
                  </a:cubicBezTo>
                  <a:cubicBezTo>
                    <a:pt x="135786" y="37746"/>
                    <a:pt x="139585" y="33946"/>
                    <a:pt x="144272" y="33946"/>
                  </a:cubicBezTo>
                  <a:cubicBezTo>
                    <a:pt x="186456" y="33946"/>
                    <a:pt x="220652" y="68142"/>
                    <a:pt x="220652" y="110326"/>
                  </a:cubicBezTo>
                  <a:cubicBezTo>
                    <a:pt x="220652" y="115013"/>
                    <a:pt x="216853" y="118813"/>
                    <a:pt x="212165" y="118813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29D332D8-7495-40E5-A899-FCAB6019378E}"/>
                </a:ext>
              </a:extLst>
            </p:cNvPr>
            <p:cNvSpPr/>
            <p:nvPr/>
          </p:nvSpPr>
          <p:spPr>
            <a:xfrm>
              <a:off x="277129" y="4649568"/>
              <a:ext cx="220652" cy="220652"/>
            </a:xfrm>
            <a:custGeom>
              <a:avLst/>
              <a:gdLst>
                <a:gd name="connsiteX0" fmla="*/ 110326 w 220651"/>
                <a:gd name="connsiteY0" fmla="*/ 0 h 220651"/>
                <a:gd name="connsiteX1" fmla="*/ 0 w 220651"/>
                <a:gd name="connsiteY1" fmla="*/ 110326 h 220651"/>
                <a:gd name="connsiteX2" fmla="*/ 110326 w 220651"/>
                <a:gd name="connsiteY2" fmla="*/ 220652 h 220651"/>
                <a:gd name="connsiteX3" fmla="*/ 220652 w 220651"/>
                <a:gd name="connsiteY3" fmla="*/ 110326 h 220651"/>
                <a:gd name="connsiteX4" fmla="*/ 110326 w 220651"/>
                <a:gd name="connsiteY4" fmla="*/ 0 h 220651"/>
                <a:gd name="connsiteX5" fmla="*/ 178219 w 220651"/>
                <a:gd name="connsiteY5" fmla="*/ 101839 h 220651"/>
                <a:gd name="connsiteX6" fmla="*/ 169732 w 220651"/>
                <a:gd name="connsiteY6" fmla="*/ 93353 h 220651"/>
                <a:gd name="connsiteX7" fmla="*/ 127299 w 220651"/>
                <a:gd name="connsiteY7" fmla="*/ 50920 h 220651"/>
                <a:gd name="connsiteX8" fmla="*/ 118813 w 220651"/>
                <a:gd name="connsiteY8" fmla="*/ 42433 h 220651"/>
                <a:gd name="connsiteX9" fmla="*/ 127299 w 220651"/>
                <a:gd name="connsiteY9" fmla="*/ 33946 h 220651"/>
                <a:gd name="connsiteX10" fmla="*/ 186706 w 220651"/>
                <a:gd name="connsiteY10" fmla="*/ 93353 h 220651"/>
                <a:gd name="connsiteX11" fmla="*/ 178219 w 220651"/>
                <a:gd name="connsiteY11" fmla="*/ 101839 h 22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651" h="220651">
                  <a:moveTo>
                    <a:pt x="110326" y="0"/>
                  </a:moveTo>
                  <a:cubicBezTo>
                    <a:pt x="49395" y="0"/>
                    <a:pt x="0" y="49395"/>
                    <a:pt x="0" y="110326"/>
                  </a:cubicBezTo>
                  <a:cubicBezTo>
                    <a:pt x="0" y="171257"/>
                    <a:pt x="49395" y="220652"/>
                    <a:pt x="110326" y="220652"/>
                  </a:cubicBezTo>
                  <a:cubicBezTo>
                    <a:pt x="171257" y="220652"/>
                    <a:pt x="220652" y="171257"/>
                    <a:pt x="220652" y="110326"/>
                  </a:cubicBezTo>
                  <a:cubicBezTo>
                    <a:pt x="220652" y="49395"/>
                    <a:pt x="171257" y="0"/>
                    <a:pt x="110326" y="0"/>
                  </a:cubicBezTo>
                  <a:close/>
                  <a:moveTo>
                    <a:pt x="178219" y="101839"/>
                  </a:moveTo>
                  <a:cubicBezTo>
                    <a:pt x="173532" y="101839"/>
                    <a:pt x="169732" y="98040"/>
                    <a:pt x="169732" y="93353"/>
                  </a:cubicBezTo>
                  <a:cubicBezTo>
                    <a:pt x="169732" y="69918"/>
                    <a:pt x="150734" y="50920"/>
                    <a:pt x="127299" y="50920"/>
                  </a:cubicBezTo>
                  <a:cubicBezTo>
                    <a:pt x="122612" y="50920"/>
                    <a:pt x="118813" y="47120"/>
                    <a:pt x="118813" y="42433"/>
                  </a:cubicBezTo>
                  <a:cubicBezTo>
                    <a:pt x="118813" y="37746"/>
                    <a:pt x="122612" y="33946"/>
                    <a:pt x="127299" y="33946"/>
                  </a:cubicBezTo>
                  <a:cubicBezTo>
                    <a:pt x="160108" y="33946"/>
                    <a:pt x="186706" y="60544"/>
                    <a:pt x="186706" y="93353"/>
                  </a:cubicBezTo>
                  <a:cubicBezTo>
                    <a:pt x="186706" y="98040"/>
                    <a:pt x="182906" y="101839"/>
                    <a:pt x="178219" y="101839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FA2CFBFC-BE27-4BB9-8C2B-A8A82659B0BC}"/>
                </a:ext>
              </a:extLst>
            </p:cNvPr>
            <p:cNvSpPr/>
            <p:nvPr/>
          </p:nvSpPr>
          <p:spPr>
            <a:xfrm>
              <a:off x="141343" y="4513782"/>
              <a:ext cx="152759" cy="152759"/>
            </a:xfrm>
            <a:custGeom>
              <a:avLst/>
              <a:gdLst>
                <a:gd name="connsiteX0" fmla="*/ 76380 w 152759"/>
                <a:gd name="connsiteY0" fmla="*/ 0 h 152759"/>
                <a:gd name="connsiteX1" fmla="*/ 0 w 152759"/>
                <a:gd name="connsiteY1" fmla="*/ 76380 h 152759"/>
                <a:gd name="connsiteX2" fmla="*/ 76380 w 152759"/>
                <a:gd name="connsiteY2" fmla="*/ 152759 h 152759"/>
                <a:gd name="connsiteX3" fmla="*/ 152759 w 152759"/>
                <a:gd name="connsiteY3" fmla="*/ 76380 h 152759"/>
                <a:gd name="connsiteX4" fmla="*/ 76380 w 152759"/>
                <a:gd name="connsiteY4" fmla="*/ 0 h 152759"/>
                <a:gd name="connsiteX5" fmla="*/ 114569 w 152759"/>
                <a:gd name="connsiteY5" fmla="*/ 72136 h 152759"/>
                <a:gd name="connsiteX6" fmla="*/ 106083 w 152759"/>
                <a:gd name="connsiteY6" fmla="*/ 63650 h 152759"/>
                <a:gd name="connsiteX7" fmla="*/ 89109 w 152759"/>
                <a:gd name="connsiteY7" fmla="*/ 46676 h 152759"/>
                <a:gd name="connsiteX8" fmla="*/ 80623 w 152759"/>
                <a:gd name="connsiteY8" fmla="*/ 38190 h 152759"/>
                <a:gd name="connsiteX9" fmla="*/ 89109 w 152759"/>
                <a:gd name="connsiteY9" fmla="*/ 29703 h 152759"/>
                <a:gd name="connsiteX10" fmla="*/ 123056 w 152759"/>
                <a:gd name="connsiteY10" fmla="*/ 63650 h 152759"/>
                <a:gd name="connsiteX11" fmla="*/ 114569 w 152759"/>
                <a:gd name="connsiteY11" fmla="*/ 72136 h 15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759" h="152759">
                  <a:moveTo>
                    <a:pt x="76380" y="0"/>
                  </a:moveTo>
                  <a:cubicBezTo>
                    <a:pt x="34196" y="0"/>
                    <a:pt x="0" y="34196"/>
                    <a:pt x="0" y="76380"/>
                  </a:cubicBezTo>
                  <a:cubicBezTo>
                    <a:pt x="0" y="118563"/>
                    <a:pt x="34196" y="152759"/>
                    <a:pt x="76380" y="152759"/>
                  </a:cubicBezTo>
                  <a:cubicBezTo>
                    <a:pt x="118563" y="152759"/>
                    <a:pt x="152759" y="118563"/>
                    <a:pt x="152759" y="76380"/>
                  </a:cubicBezTo>
                  <a:cubicBezTo>
                    <a:pt x="152759" y="34196"/>
                    <a:pt x="118563" y="0"/>
                    <a:pt x="76380" y="0"/>
                  </a:cubicBezTo>
                  <a:close/>
                  <a:moveTo>
                    <a:pt x="114569" y="72136"/>
                  </a:moveTo>
                  <a:cubicBezTo>
                    <a:pt x="109882" y="72136"/>
                    <a:pt x="106083" y="68337"/>
                    <a:pt x="106083" y="63650"/>
                  </a:cubicBezTo>
                  <a:cubicBezTo>
                    <a:pt x="106083" y="54275"/>
                    <a:pt x="98484" y="46676"/>
                    <a:pt x="89109" y="46676"/>
                  </a:cubicBezTo>
                  <a:cubicBezTo>
                    <a:pt x="84422" y="46676"/>
                    <a:pt x="80623" y="42877"/>
                    <a:pt x="80623" y="38190"/>
                  </a:cubicBezTo>
                  <a:cubicBezTo>
                    <a:pt x="80623" y="33503"/>
                    <a:pt x="84422" y="29703"/>
                    <a:pt x="89109" y="29703"/>
                  </a:cubicBezTo>
                  <a:cubicBezTo>
                    <a:pt x="107857" y="29703"/>
                    <a:pt x="123056" y="44902"/>
                    <a:pt x="123056" y="63650"/>
                  </a:cubicBezTo>
                  <a:cubicBezTo>
                    <a:pt x="123056" y="68337"/>
                    <a:pt x="119256" y="72136"/>
                    <a:pt x="114569" y="7213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5B23E686-843C-4A07-8A68-4063CDD7A47C}"/>
                </a:ext>
              </a:extLst>
            </p:cNvPr>
            <p:cNvSpPr/>
            <p:nvPr/>
          </p:nvSpPr>
          <p:spPr>
            <a:xfrm>
              <a:off x="548701" y="4836273"/>
              <a:ext cx="169732" cy="169732"/>
            </a:xfrm>
            <a:custGeom>
              <a:avLst/>
              <a:gdLst>
                <a:gd name="connsiteX0" fmla="*/ 84866 w 169732"/>
                <a:gd name="connsiteY0" fmla="*/ 0 h 169732"/>
                <a:gd name="connsiteX1" fmla="*/ 0 w 169732"/>
                <a:gd name="connsiteY1" fmla="*/ 84866 h 169732"/>
                <a:gd name="connsiteX2" fmla="*/ 84866 w 169732"/>
                <a:gd name="connsiteY2" fmla="*/ 169732 h 169732"/>
                <a:gd name="connsiteX3" fmla="*/ 169732 w 169732"/>
                <a:gd name="connsiteY3" fmla="*/ 84866 h 169732"/>
                <a:gd name="connsiteX4" fmla="*/ 84866 w 169732"/>
                <a:gd name="connsiteY4" fmla="*/ 0 h 169732"/>
                <a:gd name="connsiteX5" fmla="*/ 127299 w 169732"/>
                <a:gd name="connsiteY5" fmla="*/ 82066 h 169732"/>
                <a:gd name="connsiteX6" fmla="*/ 117370 w 169732"/>
                <a:gd name="connsiteY6" fmla="*/ 72136 h 169732"/>
                <a:gd name="connsiteX7" fmla="*/ 97596 w 169732"/>
                <a:gd name="connsiteY7" fmla="*/ 52362 h 169732"/>
                <a:gd name="connsiteX8" fmla="*/ 87667 w 169732"/>
                <a:gd name="connsiteY8" fmla="*/ 42433 h 169732"/>
                <a:gd name="connsiteX9" fmla="*/ 97596 w 169732"/>
                <a:gd name="connsiteY9" fmla="*/ 32504 h 169732"/>
                <a:gd name="connsiteX10" fmla="*/ 137229 w 169732"/>
                <a:gd name="connsiteY10" fmla="*/ 72136 h 169732"/>
                <a:gd name="connsiteX11" fmla="*/ 127299 w 169732"/>
                <a:gd name="connsiteY11" fmla="*/ 82066 h 16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732" h="169732">
                  <a:moveTo>
                    <a:pt x="84866" y="0"/>
                  </a:moveTo>
                  <a:cubicBezTo>
                    <a:pt x="37995" y="0"/>
                    <a:pt x="0" y="37995"/>
                    <a:pt x="0" y="84866"/>
                  </a:cubicBezTo>
                  <a:cubicBezTo>
                    <a:pt x="0" y="131737"/>
                    <a:pt x="37995" y="169732"/>
                    <a:pt x="84866" y="169732"/>
                  </a:cubicBezTo>
                  <a:cubicBezTo>
                    <a:pt x="131737" y="169732"/>
                    <a:pt x="169732" y="131737"/>
                    <a:pt x="169732" y="84866"/>
                  </a:cubicBezTo>
                  <a:cubicBezTo>
                    <a:pt x="169732" y="37995"/>
                    <a:pt x="131737" y="0"/>
                    <a:pt x="84866" y="0"/>
                  </a:cubicBezTo>
                  <a:close/>
                  <a:moveTo>
                    <a:pt x="127299" y="82066"/>
                  </a:moveTo>
                  <a:cubicBezTo>
                    <a:pt x="121835" y="82020"/>
                    <a:pt x="117416" y="77601"/>
                    <a:pt x="117370" y="72136"/>
                  </a:cubicBezTo>
                  <a:cubicBezTo>
                    <a:pt x="117370" y="61216"/>
                    <a:pt x="108517" y="52362"/>
                    <a:pt x="97596" y="52362"/>
                  </a:cubicBezTo>
                  <a:cubicBezTo>
                    <a:pt x="92112" y="52362"/>
                    <a:pt x="87667" y="47917"/>
                    <a:pt x="87667" y="42433"/>
                  </a:cubicBezTo>
                  <a:cubicBezTo>
                    <a:pt x="87667" y="36949"/>
                    <a:pt x="92112" y="32504"/>
                    <a:pt x="97596" y="32504"/>
                  </a:cubicBezTo>
                  <a:cubicBezTo>
                    <a:pt x="119465" y="32550"/>
                    <a:pt x="137182" y="50267"/>
                    <a:pt x="137229" y="72136"/>
                  </a:cubicBezTo>
                  <a:cubicBezTo>
                    <a:pt x="137183" y="77601"/>
                    <a:pt x="132764" y="82020"/>
                    <a:pt x="127299" y="8206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99248650-266F-4BAF-B666-56B07D0CF708}"/>
                </a:ext>
              </a:extLst>
            </p:cNvPr>
            <p:cNvSpPr/>
            <p:nvPr/>
          </p:nvSpPr>
          <p:spPr>
            <a:xfrm>
              <a:off x="555320" y="4393102"/>
              <a:ext cx="118813" cy="118813"/>
            </a:xfrm>
            <a:custGeom>
              <a:avLst/>
              <a:gdLst>
                <a:gd name="connsiteX0" fmla="*/ 122547 w 118812"/>
                <a:gd name="connsiteY0" fmla="*/ 61273 h 118812"/>
                <a:gd name="connsiteX1" fmla="*/ 61273 w 118812"/>
                <a:gd name="connsiteY1" fmla="*/ 122547 h 118812"/>
                <a:gd name="connsiteX2" fmla="*/ 0 w 118812"/>
                <a:gd name="connsiteY2" fmla="*/ 61273 h 118812"/>
                <a:gd name="connsiteX3" fmla="*/ 61273 w 118812"/>
                <a:gd name="connsiteY3" fmla="*/ 0 h 118812"/>
                <a:gd name="connsiteX4" fmla="*/ 122547 w 118812"/>
                <a:gd name="connsiteY4" fmla="*/ 61273 h 11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12" h="118812">
                  <a:moveTo>
                    <a:pt x="122547" y="61273"/>
                  </a:moveTo>
                  <a:cubicBezTo>
                    <a:pt x="122547" y="95114"/>
                    <a:pt x="95114" y="122547"/>
                    <a:pt x="61273" y="122547"/>
                  </a:cubicBezTo>
                  <a:cubicBezTo>
                    <a:pt x="27433" y="122547"/>
                    <a:pt x="0" y="95114"/>
                    <a:pt x="0" y="61273"/>
                  </a:cubicBezTo>
                  <a:cubicBezTo>
                    <a:pt x="0" y="27433"/>
                    <a:pt x="27433" y="0"/>
                    <a:pt x="61273" y="0"/>
                  </a:cubicBezTo>
                  <a:cubicBezTo>
                    <a:pt x="95114" y="0"/>
                    <a:pt x="122547" y="27433"/>
                    <a:pt x="122547" y="6127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DF1B6DB3-1F39-4AFD-A251-788EAA1EDD33}"/>
                </a:ext>
              </a:extLst>
            </p:cNvPr>
            <p:cNvSpPr/>
            <p:nvPr/>
          </p:nvSpPr>
          <p:spPr>
            <a:xfrm>
              <a:off x="115883" y="4827787"/>
              <a:ext cx="135786" cy="135786"/>
            </a:xfrm>
            <a:custGeom>
              <a:avLst/>
              <a:gdLst>
                <a:gd name="connsiteX0" fmla="*/ 135786 w 135785"/>
                <a:gd name="connsiteY0" fmla="*/ 67893 h 135785"/>
                <a:gd name="connsiteX1" fmla="*/ 67893 w 135785"/>
                <a:gd name="connsiteY1" fmla="*/ 135786 h 135785"/>
                <a:gd name="connsiteX2" fmla="*/ 0 w 135785"/>
                <a:gd name="connsiteY2" fmla="*/ 67893 h 135785"/>
                <a:gd name="connsiteX3" fmla="*/ 67893 w 135785"/>
                <a:gd name="connsiteY3" fmla="*/ 0 h 135785"/>
                <a:gd name="connsiteX4" fmla="*/ 135786 w 135785"/>
                <a:gd name="connsiteY4" fmla="*/ 67893 h 13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785" h="135785">
                  <a:moveTo>
                    <a:pt x="135786" y="67893"/>
                  </a:moveTo>
                  <a:cubicBezTo>
                    <a:pt x="135786" y="105389"/>
                    <a:pt x="105389" y="135786"/>
                    <a:pt x="67893" y="135786"/>
                  </a:cubicBezTo>
                  <a:cubicBezTo>
                    <a:pt x="30397" y="135786"/>
                    <a:pt x="0" y="105389"/>
                    <a:pt x="0" y="67893"/>
                  </a:cubicBezTo>
                  <a:cubicBezTo>
                    <a:pt x="0" y="30397"/>
                    <a:pt x="30397" y="0"/>
                    <a:pt x="67893" y="0"/>
                  </a:cubicBezTo>
                  <a:cubicBezTo>
                    <a:pt x="105389" y="0"/>
                    <a:pt x="135786" y="30397"/>
                    <a:pt x="135786" y="67893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566CD793-0462-43E1-AEC8-806CA474F77C}"/>
                </a:ext>
              </a:extLst>
            </p:cNvPr>
            <p:cNvSpPr/>
            <p:nvPr/>
          </p:nvSpPr>
          <p:spPr>
            <a:xfrm>
              <a:off x="245559" y="4333696"/>
              <a:ext cx="101839" cy="101839"/>
            </a:xfrm>
            <a:custGeom>
              <a:avLst/>
              <a:gdLst>
                <a:gd name="connsiteX0" fmla="*/ 105573 w 101839"/>
                <a:gd name="connsiteY0" fmla="*/ 52787 h 101839"/>
                <a:gd name="connsiteX1" fmla="*/ 52787 w 101839"/>
                <a:gd name="connsiteY1" fmla="*/ 105573 h 101839"/>
                <a:gd name="connsiteX2" fmla="*/ 0 w 101839"/>
                <a:gd name="connsiteY2" fmla="*/ 52787 h 101839"/>
                <a:gd name="connsiteX3" fmla="*/ 52787 w 101839"/>
                <a:gd name="connsiteY3" fmla="*/ 0 h 101839"/>
                <a:gd name="connsiteX4" fmla="*/ 105573 w 101839"/>
                <a:gd name="connsiteY4" fmla="*/ 52787 h 10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39" h="101839">
                  <a:moveTo>
                    <a:pt x="105573" y="52787"/>
                  </a:moveTo>
                  <a:cubicBezTo>
                    <a:pt x="105573" y="81940"/>
                    <a:pt x="81940" y="105573"/>
                    <a:pt x="52787" y="105573"/>
                  </a:cubicBezTo>
                  <a:cubicBezTo>
                    <a:pt x="23633" y="105573"/>
                    <a:pt x="0" y="81940"/>
                    <a:pt x="0" y="52787"/>
                  </a:cubicBezTo>
                  <a:cubicBezTo>
                    <a:pt x="0" y="23633"/>
                    <a:pt x="23633" y="0"/>
                    <a:pt x="52787" y="0"/>
                  </a:cubicBezTo>
                  <a:cubicBezTo>
                    <a:pt x="81940" y="0"/>
                    <a:pt x="105573" y="23633"/>
                    <a:pt x="105573" y="52787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31E2E925-0858-4E9B-A613-6B4F912DFE77}"/>
                </a:ext>
              </a:extLst>
            </p:cNvPr>
            <p:cNvSpPr/>
            <p:nvPr/>
          </p:nvSpPr>
          <p:spPr>
            <a:xfrm>
              <a:off x="128613" y="4403456"/>
              <a:ext cx="50920" cy="50920"/>
            </a:xfrm>
            <a:custGeom>
              <a:avLst/>
              <a:gdLst>
                <a:gd name="connsiteX0" fmla="*/ 50920 w 50919"/>
                <a:gd name="connsiteY0" fmla="*/ 25460 h 50919"/>
                <a:gd name="connsiteX1" fmla="*/ 25460 w 50919"/>
                <a:gd name="connsiteY1" fmla="*/ 50920 h 50919"/>
                <a:gd name="connsiteX2" fmla="*/ 0 w 50919"/>
                <a:gd name="connsiteY2" fmla="*/ 25460 h 50919"/>
                <a:gd name="connsiteX3" fmla="*/ 25460 w 50919"/>
                <a:gd name="connsiteY3" fmla="*/ 0 h 50919"/>
                <a:gd name="connsiteX4" fmla="*/ 50920 w 50919"/>
                <a:gd name="connsiteY4" fmla="*/ 25460 h 50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19" h="50919">
                  <a:moveTo>
                    <a:pt x="50920" y="25460"/>
                  </a:moveTo>
                  <a:cubicBezTo>
                    <a:pt x="50920" y="39521"/>
                    <a:pt x="39521" y="50920"/>
                    <a:pt x="25460" y="50920"/>
                  </a:cubicBezTo>
                  <a:cubicBezTo>
                    <a:pt x="11399" y="50920"/>
                    <a:pt x="0" y="39521"/>
                    <a:pt x="0" y="25460"/>
                  </a:cubicBezTo>
                  <a:cubicBezTo>
                    <a:pt x="0" y="11399"/>
                    <a:pt x="11399" y="0"/>
                    <a:pt x="25460" y="0"/>
                  </a:cubicBezTo>
                  <a:cubicBezTo>
                    <a:pt x="39521" y="0"/>
                    <a:pt x="50920" y="11399"/>
                    <a:pt x="50920" y="25460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963CC693-F56D-424C-A852-B6B75DD03CEE}"/>
                </a:ext>
              </a:extLst>
            </p:cNvPr>
            <p:cNvSpPr/>
            <p:nvPr/>
          </p:nvSpPr>
          <p:spPr>
            <a:xfrm>
              <a:off x="637810" y="4734434"/>
              <a:ext cx="50920" cy="50920"/>
            </a:xfrm>
            <a:custGeom>
              <a:avLst/>
              <a:gdLst>
                <a:gd name="connsiteX0" fmla="*/ 50920 w 50919"/>
                <a:gd name="connsiteY0" fmla="*/ 25460 h 50919"/>
                <a:gd name="connsiteX1" fmla="*/ 25460 w 50919"/>
                <a:gd name="connsiteY1" fmla="*/ 50920 h 50919"/>
                <a:gd name="connsiteX2" fmla="*/ 0 w 50919"/>
                <a:gd name="connsiteY2" fmla="*/ 25460 h 50919"/>
                <a:gd name="connsiteX3" fmla="*/ 25460 w 50919"/>
                <a:gd name="connsiteY3" fmla="*/ 0 h 50919"/>
                <a:gd name="connsiteX4" fmla="*/ 50920 w 50919"/>
                <a:gd name="connsiteY4" fmla="*/ 25460 h 50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19" h="50919">
                  <a:moveTo>
                    <a:pt x="50920" y="25460"/>
                  </a:moveTo>
                  <a:cubicBezTo>
                    <a:pt x="50920" y="39521"/>
                    <a:pt x="39521" y="50920"/>
                    <a:pt x="25460" y="50920"/>
                  </a:cubicBezTo>
                  <a:cubicBezTo>
                    <a:pt x="11399" y="50920"/>
                    <a:pt x="0" y="39521"/>
                    <a:pt x="0" y="25460"/>
                  </a:cubicBezTo>
                  <a:cubicBezTo>
                    <a:pt x="0" y="11399"/>
                    <a:pt x="11399" y="0"/>
                    <a:pt x="25460" y="0"/>
                  </a:cubicBezTo>
                  <a:cubicBezTo>
                    <a:pt x="39521" y="0"/>
                    <a:pt x="50920" y="11399"/>
                    <a:pt x="50920" y="25460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A2A1E8E3-07DA-4580-B156-5A0D25393F83}"/>
                </a:ext>
              </a:extLst>
            </p:cNvPr>
            <p:cNvSpPr/>
            <p:nvPr/>
          </p:nvSpPr>
          <p:spPr>
            <a:xfrm>
              <a:off x="298346" y="4921140"/>
              <a:ext cx="50920" cy="50920"/>
            </a:xfrm>
            <a:custGeom>
              <a:avLst/>
              <a:gdLst>
                <a:gd name="connsiteX0" fmla="*/ 50920 w 50919"/>
                <a:gd name="connsiteY0" fmla="*/ 25460 h 50919"/>
                <a:gd name="connsiteX1" fmla="*/ 25460 w 50919"/>
                <a:gd name="connsiteY1" fmla="*/ 50920 h 50919"/>
                <a:gd name="connsiteX2" fmla="*/ 0 w 50919"/>
                <a:gd name="connsiteY2" fmla="*/ 25460 h 50919"/>
                <a:gd name="connsiteX3" fmla="*/ 25460 w 50919"/>
                <a:gd name="connsiteY3" fmla="*/ 0 h 50919"/>
                <a:gd name="connsiteX4" fmla="*/ 50920 w 50919"/>
                <a:gd name="connsiteY4" fmla="*/ 25460 h 50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19" h="50919">
                  <a:moveTo>
                    <a:pt x="50920" y="25460"/>
                  </a:moveTo>
                  <a:cubicBezTo>
                    <a:pt x="50920" y="39521"/>
                    <a:pt x="39521" y="50920"/>
                    <a:pt x="25460" y="50920"/>
                  </a:cubicBezTo>
                  <a:cubicBezTo>
                    <a:pt x="11399" y="50920"/>
                    <a:pt x="0" y="39521"/>
                    <a:pt x="0" y="25460"/>
                  </a:cubicBezTo>
                  <a:cubicBezTo>
                    <a:pt x="0" y="11399"/>
                    <a:pt x="11399" y="0"/>
                    <a:pt x="25460" y="0"/>
                  </a:cubicBezTo>
                  <a:cubicBezTo>
                    <a:pt x="39521" y="0"/>
                    <a:pt x="50920" y="11399"/>
                    <a:pt x="50920" y="25460"/>
                  </a:cubicBezTo>
                  <a:close/>
                </a:path>
              </a:pathLst>
            </a:custGeom>
            <a:solidFill>
              <a:srgbClr val="002060"/>
            </a:solidFill>
            <a:ln w="84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</p:grpSp>
      <p:sp>
        <p:nvSpPr>
          <p:cNvPr id="36" name="Seta: Divisa 35">
            <a:extLst>
              <a:ext uri="{FF2B5EF4-FFF2-40B4-BE49-F238E27FC236}">
                <a16:creationId xmlns:a16="http://schemas.microsoft.com/office/drawing/2014/main" id="{CC382351-F7AC-4F06-B18E-0FCAF4076859}"/>
              </a:ext>
            </a:extLst>
          </p:cNvPr>
          <p:cNvSpPr/>
          <p:nvPr/>
        </p:nvSpPr>
        <p:spPr>
          <a:xfrm>
            <a:off x="3645664" y="1856237"/>
            <a:ext cx="4911663" cy="480349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>
                <a:solidFill>
                  <a:schemeClr val="bg2"/>
                </a:solidFill>
                <a:latin typeface="Suzano Sans Thin" panose="02010403030508060203" pitchFamily="2" charset="0"/>
              </a:rPr>
              <a:t>OTIMIZADOR</a:t>
            </a:r>
          </a:p>
        </p:txBody>
      </p:sp>
      <p:sp>
        <p:nvSpPr>
          <p:cNvPr id="37" name="Seta: Divisa 36">
            <a:extLst>
              <a:ext uri="{FF2B5EF4-FFF2-40B4-BE49-F238E27FC236}">
                <a16:creationId xmlns:a16="http://schemas.microsoft.com/office/drawing/2014/main" id="{E3698D31-7AA1-4347-9276-A5A4860D4E57}"/>
              </a:ext>
            </a:extLst>
          </p:cNvPr>
          <p:cNvSpPr/>
          <p:nvPr/>
        </p:nvSpPr>
        <p:spPr>
          <a:xfrm>
            <a:off x="8472174" y="1851035"/>
            <a:ext cx="2811092" cy="480349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600" b="1">
                <a:solidFill>
                  <a:schemeClr val="bg2"/>
                </a:solidFill>
                <a:latin typeface="Suzano Sans Thin" panose="02010403030508060203" pitchFamily="2" charset="0"/>
              </a:rPr>
              <a:t>RECOMENDAÇÃO</a:t>
            </a:r>
          </a:p>
        </p:txBody>
      </p:sp>
      <p:sp>
        <p:nvSpPr>
          <p:cNvPr id="41" name="Espaço Reservado para Texto 3">
            <a:extLst>
              <a:ext uri="{FF2B5EF4-FFF2-40B4-BE49-F238E27FC236}">
                <a16:creationId xmlns:a16="http://schemas.microsoft.com/office/drawing/2014/main" id="{0AA091BA-DF5E-4919-BD91-2ECC9E0E0F59}"/>
              </a:ext>
            </a:extLst>
          </p:cNvPr>
          <p:cNvSpPr txBox="1">
            <a:spLocks/>
          </p:cNvSpPr>
          <p:nvPr/>
        </p:nvSpPr>
        <p:spPr>
          <a:xfrm>
            <a:off x="6281818" y="5614168"/>
            <a:ext cx="1818956" cy="884131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spcAft>
                <a:spcPts val="600"/>
              </a:spcAft>
              <a:buNone/>
            </a:pPr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RESTRIÇÕES</a:t>
            </a:r>
          </a:p>
          <a:p>
            <a:pPr marL="87313" indent="-87313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Estoques mínimos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Internos</a:t>
            </a:r>
          </a:p>
          <a:p>
            <a:pPr marL="87313" indent="-87313" algn="just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pt-BR" sz="1400" dirty="0">
              <a:solidFill>
                <a:schemeClr val="tx1">
                  <a:lumMod val="95000"/>
                  <a:lumOff val="5000"/>
                </a:schemeClr>
              </a:solidFill>
              <a:latin typeface="Suzano Sans Thin" panose="02010403030508060203" pitchFamily="2" charset="0"/>
            </a:endParaRPr>
          </a:p>
        </p:txBody>
      </p:sp>
      <p:sp>
        <p:nvSpPr>
          <p:cNvPr id="42" name="Espaço Reservado para Texto 3">
            <a:extLst>
              <a:ext uri="{FF2B5EF4-FFF2-40B4-BE49-F238E27FC236}">
                <a16:creationId xmlns:a16="http://schemas.microsoft.com/office/drawing/2014/main" id="{58D5E5FB-66D9-4E62-901E-510619907DEB}"/>
              </a:ext>
            </a:extLst>
          </p:cNvPr>
          <p:cNvSpPr txBox="1">
            <a:spLocks/>
          </p:cNvSpPr>
          <p:nvPr/>
        </p:nvSpPr>
        <p:spPr>
          <a:xfrm>
            <a:off x="4509349" y="5883819"/>
            <a:ext cx="1990406" cy="46473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7313" indent="-87313" algn="just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Expectativa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para cada cliente</a:t>
            </a:r>
          </a:p>
        </p:txBody>
      </p:sp>
      <p:sp>
        <p:nvSpPr>
          <p:cNvPr id="43" name="Espaço Reservado para Texto 3">
            <a:extLst>
              <a:ext uri="{FF2B5EF4-FFF2-40B4-BE49-F238E27FC236}">
                <a16:creationId xmlns:a16="http://schemas.microsoft.com/office/drawing/2014/main" id="{CF6A09A0-CE10-476A-B9B5-6FAA04122D58}"/>
              </a:ext>
            </a:extLst>
          </p:cNvPr>
          <p:cNvSpPr txBox="1">
            <a:spLocks/>
          </p:cNvSpPr>
          <p:nvPr/>
        </p:nvSpPr>
        <p:spPr>
          <a:xfrm>
            <a:off x="8618372" y="2661710"/>
            <a:ext cx="2711811" cy="190251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spcAft>
                <a:spcPts val="1800"/>
              </a:spcAft>
              <a:buNone/>
            </a:pPr>
            <a:r>
              <a:rPr lang="pt-BR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RECOMENDADOR</a:t>
            </a:r>
          </a:p>
          <a:p>
            <a:pPr marL="87313" indent="-87313" algn="just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Suzano Sans Thin" panose="02010403030508060203" pitchFamily="2" charset="0"/>
              </a:rPr>
              <a:t>Alocação de cada SKU para cada cliente</a:t>
            </a:r>
          </a:p>
        </p:txBody>
      </p:sp>
      <p:grpSp>
        <p:nvGrpSpPr>
          <p:cNvPr id="44" name="Group 20">
            <a:extLst>
              <a:ext uri="{FF2B5EF4-FFF2-40B4-BE49-F238E27FC236}">
                <a16:creationId xmlns:a16="http://schemas.microsoft.com/office/drawing/2014/main" id="{0F51D6FE-D7AF-4BE8-B90A-8805C5BB8487}"/>
              </a:ext>
            </a:extLst>
          </p:cNvPr>
          <p:cNvGrpSpPr/>
          <p:nvPr/>
        </p:nvGrpSpPr>
        <p:grpSpPr>
          <a:xfrm>
            <a:off x="8655857" y="2572717"/>
            <a:ext cx="763914" cy="764620"/>
            <a:chOff x="0" y="532071"/>
            <a:chExt cx="1644396" cy="1645920"/>
          </a:xfrm>
        </p:grpSpPr>
        <p:sp>
          <p:nvSpPr>
            <p:cNvPr id="45" name="AutoShape 23">
              <a:extLst>
                <a:ext uri="{FF2B5EF4-FFF2-40B4-BE49-F238E27FC236}">
                  <a16:creationId xmlns:a16="http://schemas.microsoft.com/office/drawing/2014/main" id="{EFDE1F77-6DF4-4671-B010-EFC6B6C222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0" y="532071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uzano Sans Thin" panose="02010403030508060203" pitchFamily="2" charset="0"/>
              </a:endParaRPr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4BC4B45C-2F7C-401D-BAB7-BE412C43D6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100" y="851349"/>
              <a:ext cx="697992" cy="52082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uzano Sans Thin" panose="02010403030508060203" pitchFamily="2" charset="0"/>
              </a:endParaRPr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963C9FD7-EC79-40F3-8862-B613C38BD0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940" y="820107"/>
              <a:ext cx="1072134" cy="107289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uzano Sans Thin" panose="02010403030508060203" pitchFamily="2" charset="0"/>
              </a:endParaRPr>
            </a:p>
          </p:txBody>
        </p:sp>
      </p:grpSp>
      <p:grpSp>
        <p:nvGrpSpPr>
          <p:cNvPr id="48" name="Group 55">
            <a:extLst>
              <a:ext uri="{FF2B5EF4-FFF2-40B4-BE49-F238E27FC236}">
                <a16:creationId xmlns:a16="http://schemas.microsoft.com/office/drawing/2014/main" id="{94F7615F-7C44-4E95-AA28-257758D13B95}"/>
              </a:ext>
            </a:extLst>
          </p:cNvPr>
          <p:cNvGrpSpPr>
            <a:grpSpLocks noChangeAspect="1"/>
          </p:cNvGrpSpPr>
          <p:nvPr/>
        </p:nvGrpSpPr>
        <p:grpSpPr>
          <a:xfrm>
            <a:off x="6733022" y="3361856"/>
            <a:ext cx="954138" cy="954138"/>
            <a:chOff x="2670720" y="1"/>
            <a:chExt cx="6858001" cy="6858000"/>
          </a:xfrm>
        </p:grpSpPr>
        <p:sp>
          <p:nvSpPr>
            <p:cNvPr id="49" name="AutoShape 17">
              <a:extLst>
                <a:ext uri="{FF2B5EF4-FFF2-40B4-BE49-F238E27FC236}">
                  <a16:creationId xmlns:a16="http://schemas.microsoft.com/office/drawing/2014/main" id="{BA992660-AD13-475D-9B3D-F6702137CA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70720" y="1"/>
              <a:ext cx="685800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2060"/>
                </a:solidFill>
                <a:latin typeface="Suzano Sans Thin" panose="02010403030508060203" pitchFamily="2" charset="0"/>
              </a:endParaRPr>
            </a:p>
          </p:txBody>
        </p:sp>
        <p:grpSp>
          <p:nvGrpSpPr>
            <p:cNvPr id="50" name="Group 58">
              <a:extLst>
                <a:ext uri="{FF2B5EF4-FFF2-40B4-BE49-F238E27FC236}">
                  <a16:creationId xmlns:a16="http://schemas.microsoft.com/office/drawing/2014/main" id="{D2527E00-07D2-4B3A-9C5B-EEEE3AA39555}"/>
                </a:ext>
              </a:extLst>
            </p:cNvPr>
            <p:cNvGrpSpPr/>
            <p:nvPr/>
          </p:nvGrpSpPr>
          <p:grpSpPr>
            <a:xfrm>
              <a:off x="3398341" y="708026"/>
              <a:ext cx="5402763" cy="5441950"/>
              <a:chOff x="3398339" y="708025"/>
              <a:chExt cx="5402761" cy="5441951"/>
            </a:xfrm>
          </p:grpSpPr>
          <p:sp>
            <p:nvSpPr>
              <p:cNvPr id="51" name="Freeform 59">
                <a:extLst>
                  <a:ext uri="{FF2B5EF4-FFF2-40B4-BE49-F238E27FC236}">
                    <a16:creationId xmlns:a16="http://schemas.microsoft.com/office/drawing/2014/main" id="{D92E0803-FD2F-4865-B3A0-5433B532E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339" y="708025"/>
                <a:ext cx="5402761" cy="5441951"/>
              </a:xfrm>
              <a:custGeom>
                <a:avLst/>
                <a:gdLst>
                  <a:gd name="connsiteX0" fmla="*/ 3533552 w 5402761"/>
                  <a:gd name="connsiteY0" fmla="*/ 4075113 h 5441951"/>
                  <a:gd name="connsiteX1" fmla="*/ 3643735 w 5402761"/>
                  <a:gd name="connsiteY1" fmla="*/ 4075113 h 5441951"/>
                  <a:gd name="connsiteX2" fmla="*/ 3643735 w 5402761"/>
                  <a:gd name="connsiteY2" fmla="*/ 4155462 h 5441951"/>
                  <a:gd name="connsiteX3" fmla="*/ 3780720 w 5402761"/>
                  <a:gd name="connsiteY3" fmla="*/ 4197125 h 5441951"/>
                  <a:gd name="connsiteX4" fmla="*/ 3742007 w 5402761"/>
                  <a:gd name="connsiteY4" fmla="*/ 4301281 h 5441951"/>
                  <a:gd name="connsiteX5" fmla="*/ 3599066 w 5402761"/>
                  <a:gd name="connsiteY5" fmla="*/ 4253667 h 5441951"/>
                  <a:gd name="connsiteX6" fmla="*/ 3530574 w 5402761"/>
                  <a:gd name="connsiteY6" fmla="*/ 4277474 h 5441951"/>
                  <a:gd name="connsiteX7" fmla="*/ 3506750 w 5402761"/>
                  <a:gd name="connsiteY7" fmla="*/ 4334016 h 5441951"/>
                  <a:gd name="connsiteX8" fmla="*/ 3640757 w 5402761"/>
                  <a:gd name="connsiteY8" fmla="*/ 4456027 h 5441951"/>
                  <a:gd name="connsiteX9" fmla="*/ 3747963 w 5402761"/>
                  <a:gd name="connsiteY9" fmla="*/ 4518521 h 5441951"/>
                  <a:gd name="connsiteX10" fmla="*/ 3792632 w 5402761"/>
                  <a:gd name="connsiteY10" fmla="*/ 4583991 h 5441951"/>
                  <a:gd name="connsiteX11" fmla="*/ 3810499 w 5402761"/>
                  <a:gd name="connsiteY11" fmla="*/ 4664340 h 5441951"/>
                  <a:gd name="connsiteX12" fmla="*/ 3768808 w 5402761"/>
                  <a:gd name="connsiteY12" fmla="*/ 4780400 h 5441951"/>
                  <a:gd name="connsiteX13" fmla="*/ 3643735 w 5402761"/>
                  <a:gd name="connsiteY13" fmla="*/ 4845869 h 5441951"/>
                  <a:gd name="connsiteX14" fmla="*/ 3643735 w 5402761"/>
                  <a:gd name="connsiteY14" fmla="*/ 4953001 h 5441951"/>
                  <a:gd name="connsiteX15" fmla="*/ 3533552 w 5402761"/>
                  <a:gd name="connsiteY15" fmla="*/ 4953001 h 5441951"/>
                  <a:gd name="connsiteX16" fmla="*/ 3533552 w 5402761"/>
                  <a:gd name="connsiteY16" fmla="*/ 4854797 h 5441951"/>
                  <a:gd name="connsiteX17" fmla="*/ 3378699 w 5402761"/>
                  <a:gd name="connsiteY17" fmla="*/ 4807183 h 5441951"/>
                  <a:gd name="connsiteX18" fmla="*/ 3426346 w 5402761"/>
                  <a:gd name="connsiteY18" fmla="*/ 4697075 h 5441951"/>
                  <a:gd name="connsiteX19" fmla="*/ 3575243 w 5402761"/>
                  <a:gd name="connsiteY19" fmla="*/ 4747665 h 5441951"/>
                  <a:gd name="connsiteX20" fmla="*/ 3685426 w 5402761"/>
                  <a:gd name="connsiteY20" fmla="*/ 4673267 h 5441951"/>
                  <a:gd name="connsiteX21" fmla="*/ 3655647 w 5402761"/>
                  <a:gd name="connsiteY21" fmla="*/ 4607798 h 5441951"/>
                  <a:gd name="connsiteX22" fmla="*/ 3548441 w 5402761"/>
                  <a:gd name="connsiteY22" fmla="*/ 4536376 h 5441951"/>
                  <a:gd name="connsiteX23" fmla="*/ 3441236 w 5402761"/>
                  <a:gd name="connsiteY23" fmla="*/ 4473883 h 5441951"/>
                  <a:gd name="connsiteX24" fmla="*/ 3396567 w 5402761"/>
                  <a:gd name="connsiteY24" fmla="*/ 4414365 h 5441951"/>
                  <a:gd name="connsiteX25" fmla="*/ 3381677 w 5402761"/>
                  <a:gd name="connsiteY25" fmla="*/ 4336992 h 5441951"/>
                  <a:gd name="connsiteX26" fmla="*/ 3423368 w 5402761"/>
                  <a:gd name="connsiteY26" fmla="*/ 4226884 h 5441951"/>
                  <a:gd name="connsiteX27" fmla="*/ 3533552 w 5402761"/>
                  <a:gd name="connsiteY27" fmla="*/ 4161414 h 5441951"/>
                  <a:gd name="connsiteX28" fmla="*/ 3533552 w 5402761"/>
                  <a:gd name="connsiteY28" fmla="*/ 4075113 h 5441951"/>
                  <a:gd name="connsiteX29" fmla="*/ 1932486 w 5402761"/>
                  <a:gd name="connsiteY29" fmla="*/ 3735388 h 5441951"/>
                  <a:gd name="connsiteX30" fmla="*/ 1932486 w 5402761"/>
                  <a:gd name="connsiteY30" fmla="*/ 5310188 h 5441951"/>
                  <a:gd name="connsiteX31" fmla="*/ 5272586 w 5402761"/>
                  <a:gd name="connsiteY31" fmla="*/ 5310188 h 5441951"/>
                  <a:gd name="connsiteX32" fmla="*/ 5272586 w 5402761"/>
                  <a:gd name="connsiteY32" fmla="*/ 3735388 h 5441951"/>
                  <a:gd name="connsiteX33" fmla="*/ 1867774 w 5402761"/>
                  <a:gd name="connsiteY33" fmla="*/ 3608388 h 5441951"/>
                  <a:gd name="connsiteX34" fmla="*/ 5337298 w 5402761"/>
                  <a:gd name="connsiteY34" fmla="*/ 3608388 h 5441951"/>
                  <a:gd name="connsiteX35" fmla="*/ 5402761 w 5402761"/>
                  <a:gd name="connsiteY35" fmla="*/ 3670896 h 5441951"/>
                  <a:gd name="connsiteX36" fmla="*/ 5402761 w 5402761"/>
                  <a:gd name="connsiteY36" fmla="*/ 5376467 h 5441951"/>
                  <a:gd name="connsiteX37" fmla="*/ 5337298 w 5402761"/>
                  <a:gd name="connsiteY37" fmla="*/ 5441951 h 5441951"/>
                  <a:gd name="connsiteX38" fmla="*/ 1867774 w 5402761"/>
                  <a:gd name="connsiteY38" fmla="*/ 5441951 h 5441951"/>
                  <a:gd name="connsiteX39" fmla="*/ 1802311 w 5402761"/>
                  <a:gd name="connsiteY39" fmla="*/ 5376467 h 5441951"/>
                  <a:gd name="connsiteX40" fmla="*/ 1802311 w 5402761"/>
                  <a:gd name="connsiteY40" fmla="*/ 3670896 h 5441951"/>
                  <a:gd name="connsiteX41" fmla="*/ 1867774 w 5402761"/>
                  <a:gd name="connsiteY41" fmla="*/ 3608388 h 5441951"/>
                  <a:gd name="connsiteX42" fmla="*/ 409138 w 5402761"/>
                  <a:gd name="connsiteY42" fmla="*/ 2566988 h 5441951"/>
                  <a:gd name="connsiteX43" fmla="*/ 465674 w 5402761"/>
                  <a:gd name="connsiteY43" fmla="*/ 2623521 h 5441951"/>
                  <a:gd name="connsiteX44" fmla="*/ 792985 w 5402761"/>
                  <a:gd name="connsiteY44" fmla="*/ 2950815 h 5441951"/>
                  <a:gd name="connsiteX45" fmla="*/ 804887 w 5402761"/>
                  <a:gd name="connsiteY45" fmla="*/ 3057929 h 5441951"/>
                  <a:gd name="connsiteX46" fmla="*/ 742400 w 5402761"/>
                  <a:gd name="connsiteY46" fmla="*/ 3087683 h 5441951"/>
                  <a:gd name="connsiteX47" fmla="*/ 694791 w 5402761"/>
                  <a:gd name="connsiteY47" fmla="*/ 3072806 h 5441951"/>
                  <a:gd name="connsiteX48" fmla="*/ 489478 w 5402761"/>
                  <a:gd name="connsiteY48" fmla="*/ 2867504 h 5441951"/>
                  <a:gd name="connsiteX49" fmla="*/ 489478 w 5402761"/>
                  <a:gd name="connsiteY49" fmla="*/ 4444467 h 5441951"/>
                  <a:gd name="connsiteX50" fmla="*/ 1667797 w 5402761"/>
                  <a:gd name="connsiteY50" fmla="*/ 4444467 h 5441951"/>
                  <a:gd name="connsiteX51" fmla="*/ 1745161 w 5402761"/>
                  <a:gd name="connsiteY51" fmla="*/ 4524803 h 5441951"/>
                  <a:gd name="connsiteX52" fmla="*/ 1667797 w 5402761"/>
                  <a:gd name="connsiteY52" fmla="*/ 4602163 h 5441951"/>
                  <a:gd name="connsiteX53" fmla="*/ 331774 w 5402761"/>
                  <a:gd name="connsiteY53" fmla="*/ 4602163 h 5441951"/>
                  <a:gd name="connsiteX54" fmla="*/ 331774 w 5402761"/>
                  <a:gd name="connsiteY54" fmla="*/ 2867504 h 5441951"/>
                  <a:gd name="connsiteX55" fmla="*/ 132412 w 5402761"/>
                  <a:gd name="connsiteY55" fmla="*/ 3063880 h 5441951"/>
                  <a:gd name="connsiteX56" fmla="*/ 22316 w 5402761"/>
                  <a:gd name="connsiteY56" fmla="*/ 3063880 h 5441951"/>
                  <a:gd name="connsiteX57" fmla="*/ 22316 w 5402761"/>
                  <a:gd name="connsiteY57" fmla="*/ 2953790 h 5441951"/>
                  <a:gd name="connsiteX58" fmla="*/ 409138 w 5402761"/>
                  <a:gd name="connsiteY58" fmla="*/ 2566988 h 5441951"/>
                  <a:gd name="connsiteX59" fmla="*/ 3075116 w 5402761"/>
                  <a:gd name="connsiteY59" fmla="*/ 1373188 h 5441951"/>
                  <a:gd name="connsiteX60" fmla="*/ 4412049 w 5402761"/>
                  <a:gd name="connsiteY60" fmla="*/ 1373188 h 5441951"/>
                  <a:gd name="connsiteX61" fmla="*/ 4412049 w 5402761"/>
                  <a:gd name="connsiteY61" fmla="*/ 3104872 h 5441951"/>
                  <a:gd name="connsiteX62" fmla="*/ 4605591 w 5402761"/>
                  <a:gd name="connsiteY62" fmla="*/ 2914446 h 5441951"/>
                  <a:gd name="connsiteX63" fmla="*/ 4715761 w 5402761"/>
                  <a:gd name="connsiteY63" fmla="*/ 2917422 h 5441951"/>
                  <a:gd name="connsiteX64" fmla="*/ 4715761 w 5402761"/>
                  <a:gd name="connsiteY64" fmla="*/ 3027512 h 5441951"/>
                  <a:gd name="connsiteX65" fmla="*/ 4400138 w 5402761"/>
                  <a:gd name="connsiteY65" fmla="*/ 3336954 h 5441951"/>
                  <a:gd name="connsiteX66" fmla="*/ 4376318 w 5402761"/>
                  <a:gd name="connsiteY66" fmla="*/ 3363732 h 5441951"/>
                  <a:gd name="connsiteX67" fmla="*/ 4331654 w 5402761"/>
                  <a:gd name="connsiteY67" fmla="*/ 3408363 h 5441951"/>
                  <a:gd name="connsiteX68" fmla="*/ 4275080 w 5402761"/>
                  <a:gd name="connsiteY68" fmla="*/ 3351831 h 5441951"/>
                  <a:gd name="connsiteX69" fmla="*/ 3953502 w 5402761"/>
                  <a:gd name="connsiteY69" fmla="*/ 3030487 h 5441951"/>
                  <a:gd name="connsiteX70" fmla="*/ 3938614 w 5402761"/>
                  <a:gd name="connsiteY70" fmla="*/ 2923373 h 5441951"/>
                  <a:gd name="connsiteX71" fmla="*/ 4048784 w 5402761"/>
                  <a:gd name="connsiteY71" fmla="*/ 2908496 h 5441951"/>
                  <a:gd name="connsiteX72" fmla="*/ 4257214 w 5402761"/>
                  <a:gd name="connsiteY72" fmla="*/ 3110823 h 5441951"/>
                  <a:gd name="connsiteX73" fmla="*/ 4257214 w 5402761"/>
                  <a:gd name="connsiteY73" fmla="*/ 1527909 h 5441951"/>
                  <a:gd name="connsiteX74" fmla="*/ 3075116 w 5402761"/>
                  <a:gd name="connsiteY74" fmla="*/ 1527909 h 5441951"/>
                  <a:gd name="connsiteX75" fmla="*/ 2997699 w 5402761"/>
                  <a:gd name="connsiteY75" fmla="*/ 1450549 h 5441951"/>
                  <a:gd name="connsiteX76" fmla="*/ 3075116 w 5402761"/>
                  <a:gd name="connsiteY76" fmla="*/ 1373188 h 5441951"/>
                  <a:gd name="connsiteX77" fmla="*/ 1464174 w 5402761"/>
                  <a:gd name="connsiteY77" fmla="*/ 669925 h 5441951"/>
                  <a:gd name="connsiteX78" fmla="*/ 694236 w 5402761"/>
                  <a:gd name="connsiteY78" fmla="*/ 1440657 h 5441951"/>
                  <a:gd name="connsiteX79" fmla="*/ 1464174 w 5402761"/>
                  <a:gd name="connsiteY79" fmla="*/ 2211389 h 5441951"/>
                  <a:gd name="connsiteX80" fmla="*/ 2234112 w 5402761"/>
                  <a:gd name="connsiteY80" fmla="*/ 1440657 h 5441951"/>
                  <a:gd name="connsiteX81" fmla="*/ 1464174 w 5402761"/>
                  <a:gd name="connsiteY81" fmla="*/ 669925 h 5441951"/>
                  <a:gd name="connsiteX82" fmla="*/ 1465761 w 5402761"/>
                  <a:gd name="connsiteY82" fmla="*/ 533400 h 5441951"/>
                  <a:gd name="connsiteX83" fmla="*/ 2373811 w 5402761"/>
                  <a:gd name="connsiteY83" fmla="*/ 1441450 h 5441951"/>
                  <a:gd name="connsiteX84" fmla="*/ 1465761 w 5402761"/>
                  <a:gd name="connsiteY84" fmla="*/ 2349500 h 5441951"/>
                  <a:gd name="connsiteX85" fmla="*/ 557711 w 5402761"/>
                  <a:gd name="connsiteY85" fmla="*/ 1441450 h 5441951"/>
                  <a:gd name="connsiteX86" fmla="*/ 1465761 w 5402761"/>
                  <a:gd name="connsiteY86" fmla="*/ 533400 h 5441951"/>
                  <a:gd name="connsiteX87" fmla="*/ 1333910 w 5402761"/>
                  <a:gd name="connsiteY87" fmla="*/ 142875 h 5441951"/>
                  <a:gd name="connsiteX88" fmla="*/ 1232714 w 5402761"/>
                  <a:gd name="connsiteY88" fmla="*/ 416804 h 5441951"/>
                  <a:gd name="connsiteX89" fmla="*/ 1196998 w 5402761"/>
                  <a:gd name="connsiteY89" fmla="*/ 425736 h 5441951"/>
                  <a:gd name="connsiteX90" fmla="*/ 1009489 w 5402761"/>
                  <a:gd name="connsiteY90" fmla="*/ 488263 h 5441951"/>
                  <a:gd name="connsiteX91" fmla="*/ 979726 w 5402761"/>
                  <a:gd name="connsiteY91" fmla="*/ 503152 h 5441951"/>
                  <a:gd name="connsiteX92" fmla="*/ 732690 w 5402761"/>
                  <a:gd name="connsiteY92" fmla="*/ 363209 h 5441951"/>
                  <a:gd name="connsiteX93" fmla="*/ 628518 w 5402761"/>
                  <a:gd name="connsiteY93" fmla="*/ 443601 h 5441951"/>
                  <a:gd name="connsiteX94" fmla="*/ 530299 w 5402761"/>
                  <a:gd name="connsiteY94" fmla="*/ 532926 h 5441951"/>
                  <a:gd name="connsiteX95" fmla="*/ 619589 w 5402761"/>
                  <a:gd name="connsiteY95" fmla="*/ 777080 h 5441951"/>
                  <a:gd name="connsiteX96" fmla="*/ 592802 w 5402761"/>
                  <a:gd name="connsiteY96" fmla="*/ 806854 h 5441951"/>
                  <a:gd name="connsiteX97" fmla="*/ 467796 w 5402761"/>
                  <a:gd name="connsiteY97" fmla="*/ 1009324 h 5441951"/>
                  <a:gd name="connsiteX98" fmla="*/ 452914 w 5402761"/>
                  <a:gd name="connsiteY98" fmla="*/ 1039098 h 5441951"/>
                  <a:gd name="connsiteX99" fmla="*/ 211831 w 5402761"/>
                  <a:gd name="connsiteY99" fmla="*/ 1086738 h 5441951"/>
                  <a:gd name="connsiteX100" fmla="*/ 185044 w 5402761"/>
                  <a:gd name="connsiteY100" fmla="*/ 1211793 h 5441951"/>
                  <a:gd name="connsiteX101" fmla="*/ 167186 w 5402761"/>
                  <a:gd name="connsiteY101" fmla="*/ 1345779 h 5441951"/>
                  <a:gd name="connsiteX102" fmla="*/ 366601 w 5402761"/>
                  <a:gd name="connsiteY102" fmla="*/ 1461902 h 5441951"/>
                  <a:gd name="connsiteX103" fmla="*/ 369577 w 5402761"/>
                  <a:gd name="connsiteY103" fmla="*/ 1500609 h 5441951"/>
                  <a:gd name="connsiteX104" fmla="*/ 417198 w 5402761"/>
                  <a:gd name="connsiteY104" fmla="*/ 1756673 h 5441951"/>
                  <a:gd name="connsiteX105" fmla="*/ 429104 w 5402761"/>
                  <a:gd name="connsiteY105" fmla="*/ 1789425 h 5441951"/>
                  <a:gd name="connsiteX106" fmla="*/ 277311 w 5402761"/>
                  <a:gd name="connsiteY106" fmla="*/ 1974029 h 5441951"/>
                  <a:gd name="connsiteX107" fmla="*/ 336837 w 5402761"/>
                  <a:gd name="connsiteY107" fmla="*/ 2090151 h 5441951"/>
                  <a:gd name="connsiteX108" fmla="*/ 408269 w 5402761"/>
                  <a:gd name="connsiteY108" fmla="*/ 2200318 h 5441951"/>
                  <a:gd name="connsiteX109" fmla="*/ 658281 w 5402761"/>
                  <a:gd name="connsiteY109" fmla="*/ 2161611 h 5441951"/>
                  <a:gd name="connsiteX110" fmla="*/ 685068 w 5402761"/>
                  <a:gd name="connsiteY110" fmla="*/ 2185431 h 5441951"/>
                  <a:gd name="connsiteX111" fmla="*/ 863649 w 5402761"/>
                  <a:gd name="connsiteY111" fmla="*/ 2325372 h 5441951"/>
                  <a:gd name="connsiteX112" fmla="*/ 896388 w 5402761"/>
                  <a:gd name="connsiteY112" fmla="*/ 2346215 h 5441951"/>
                  <a:gd name="connsiteX113" fmla="*/ 896388 w 5402761"/>
                  <a:gd name="connsiteY113" fmla="*/ 2611211 h 5441951"/>
                  <a:gd name="connsiteX114" fmla="*/ 1018418 w 5402761"/>
                  <a:gd name="connsiteY114" fmla="*/ 2661828 h 5441951"/>
                  <a:gd name="connsiteX115" fmla="*/ 1143424 w 5402761"/>
                  <a:gd name="connsiteY115" fmla="*/ 2700536 h 5441951"/>
                  <a:gd name="connsiteX116" fmla="*/ 1324981 w 5402761"/>
                  <a:gd name="connsiteY116" fmla="*/ 2492112 h 5441951"/>
                  <a:gd name="connsiteX117" fmla="*/ 1360697 w 5402761"/>
                  <a:gd name="connsiteY117" fmla="*/ 2495089 h 5441951"/>
                  <a:gd name="connsiteX118" fmla="*/ 1566064 w 5402761"/>
                  <a:gd name="connsiteY118" fmla="*/ 2495089 h 5441951"/>
                  <a:gd name="connsiteX119" fmla="*/ 1601780 w 5402761"/>
                  <a:gd name="connsiteY119" fmla="*/ 2492112 h 5441951"/>
                  <a:gd name="connsiteX120" fmla="*/ 1783336 w 5402761"/>
                  <a:gd name="connsiteY120" fmla="*/ 2703513 h 5441951"/>
                  <a:gd name="connsiteX121" fmla="*/ 1905366 w 5402761"/>
                  <a:gd name="connsiteY121" fmla="*/ 2661828 h 5441951"/>
                  <a:gd name="connsiteX122" fmla="*/ 2030372 w 5402761"/>
                  <a:gd name="connsiteY122" fmla="*/ 2611211 h 5441951"/>
                  <a:gd name="connsiteX123" fmla="*/ 2033348 w 5402761"/>
                  <a:gd name="connsiteY123" fmla="*/ 2349192 h 5441951"/>
                  <a:gd name="connsiteX124" fmla="*/ 2063112 w 5402761"/>
                  <a:gd name="connsiteY124" fmla="*/ 2328350 h 5441951"/>
                  <a:gd name="connsiteX125" fmla="*/ 2244668 w 5402761"/>
                  <a:gd name="connsiteY125" fmla="*/ 2185431 h 5441951"/>
                  <a:gd name="connsiteX126" fmla="*/ 2271455 w 5402761"/>
                  <a:gd name="connsiteY126" fmla="*/ 2161611 h 5441951"/>
                  <a:gd name="connsiteX127" fmla="*/ 2518491 w 5402761"/>
                  <a:gd name="connsiteY127" fmla="*/ 2200318 h 5441951"/>
                  <a:gd name="connsiteX128" fmla="*/ 2589923 w 5402761"/>
                  <a:gd name="connsiteY128" fmla="*/ 2090151 h 5441951"/>
                  <a:gd name="connsiteX129" fmla="*/ 2649450 w 5402761"/>
                  <a:gd name="connsiteY129" fmla="*/ 1977007 h 5441951"/>
                  <a:gd name="connsiteX130" fmla="*/ 2497657 w 5402761"/>
                  <a:gd name="connsiteY130" fmla="*/ 1792402 h 5441951"/>
                  <a:gd name="connsiteX131" fmla="*/ 2509562 w 5402761"/>
                  <a:gd name="connsiteY131" fmla="*/ 1756673 h 5441951"/>
                  <a:gd name="connsiteX132" fmla="*/ 2557183 w 5402761"/>
                  <a:gd name="connsiteY132" fmla="*/ 1500609 h 5441951"/>
                  <a:gd name="connsiteX133" fmla="*/ 2560160 w 5402761"/>
                  <a:gd name="connsiteY133" fmla="*/ 1464879 h 5441951"/>
                  <a:gd name="connsiteX134" fmla="*/ 2759574 w 5402761"/>
                  <a:gd name="connsiteY134" fmla="*/ 1345779 h 5441951"/>
                  <a:gd name="connsiteX135" fmla="*/ 2741716 w 5402761"/>
                  <a:gd name="connsiteY135" fmla="*/ 1214771 h 5441951"/>
                  <a:gd name="connsiteX136" fmla="*/ 2714929 w 5402761"/>
                  <a:gd name="connsiteY136" fmla="*/ 1086738 h 5441951"/>
                  <a:gd name="connsiteX137" fmla="*/ 2476822 w 5402761"/>
                  <a:gd name="connsiteY137" fmla="*/ 1042076 h 5441951"/>
                  <a:gd name="connsiteX138" fmla="*/ 2461941 w 5402761"/>
                  <a:gd name="connsiteY138" fmla="*/ 1009324 h 5441951"/>
                  <a:gd name="connsiteX139" fmla="*/ 2333958 w 5402761"/>
                  <a:gd name="connsiteY139" fmla="*/ 806854 h 5441951"/>
                  <a:gd name="connsiteX140" fmla="*/ 2310148 w 5402761"/>
                  <a:gd name="connsiteY140" fmla="*/ 777080 h 5441951"/>
                  <a:gd name="connsiteX141" fmla="*/ 2396461 w 5402761"/>
                  <a:gd name="connsiteY141" fmla="*/ 532926 h 5441951"/>
                  <a:gd name="connsiteX142" fmla="*/ 2298242 w 5402761"/>
                  <a:gd name="connsiteY142" fmla="*/ 443601 h 5441951"/>
                  <a:gd name="connsiteX143" fmla="*/ 2197047 w 5402761"/>
                  <a:gd name="connsiteY143" fmla="*/ 363209 h 5441951"/>
                  <a:gd name="connsiteX144" fmla="*/ 1950011 w 5402761"/>
                  <a:gd name="connsiteY144" fmla="*/ 503152 h 5441951"/>
                  <a:gd name="connsiteX145" fmla="*/ 1917271 w 5402761"/>
                  <a:gd name="connsiteY145" fmla="*/ 488263 h 5441951"/>
                  <a:gd name="connsiteX146" fmla="*/ 1732739 w 5402761"/>
                  <a:gd name="connsiteY146" fmla="*/ 425736 h 5441951"/>
                  <a:gd name="connsiteX147" fmla="*/ 1697023 w 5402761"/>
                  <a:gd name="connsiteY147" fmla="*/ 416804 h 5441951"/>
                  <a:gd name="connsiteX148" fmla="*/ 1595827 w 5402761"/>
                  <a:gd name="connsiteY148" fmla="*/ 142875 h 5441951"/>
                  <a:gd name="connsiteX149" fmla="*/ 1464868 w 5402761"/>
                  <a:gd name="connsiteY149" fmla="*/ 142875 h 5441951"/>
                  <a:gd name="connsiteX150" fmla="*/ 1333910 w 5402761"/>
                  <a:gd name="connsiteY150" fmla="*/ 142875 h 5441951"/>
                  <a:gd name="connsiteX151" fmla="*/ 1464868 w 5402761"/>
                  <a:gd name="connsiteY151" fmla="*/ 0 h 5441951"/>
                  <a:gd name="connsiteX152" fmla="*/ 1655355 w 5402761"/>
                  <a:gd name="connsiteY152" fmla="*/ 11906 h 5441951"/>
                  <a:gd name="connsiteX153" fmla="*/ 1694048 w 5402761"/>
                  <a:gd name="connsiteY153" fmla="*/ 17858 h 5441951"/>
                  <a:gd name="connsiteX154" fmla="*/ 1801197 w 5402761"/>
                  <a:gd name="connsiteY154" fmla="*/ 300612 h 5441951"/>
                  <a:gd name="connsiteX155" fmla="*/ 1941086 w 5402761"/>
                  <a:gd name="connsiteY155" fmla="*/ 348234 h 5441951"/>
                  <a:gd name="connsiteX156" fmla="*/ 2203005 w 5402761"/>
                  <a:gd name="connsiteY156" fmla="*/ 202392 h 5441951"/>
                  <a:gd name="connsiteX157" fmla="*/ 2238721 w 5402761"/>
                  <a:gd name="connsiteY157" fmla="*/ 226203 h 5441951"/>
                  <a:gd name="connsiteX158" fmla="*/ 2387539 w 5402761"/>
                  <a:gd name="connsiteY158" fmla="*/ 339305 h 5441951"/>
                  <a:gd name="connsiteX159" fmla="*/ 2524452 w 5402761"/>
                  <a:gd name="connsiteY159" fmla="*/ 467288 h 5441951"/>
                  <a:gd name="connsiteX160" fmla="*/ 2554215 w 5402761"/>
                  <a:gd name="connsiteY160" fmla="*/ 500028 h 5441951"/>
                  <a:gd name="connsiteX161" fmla="*/ 2467901 w 5402761"/>
                  <a:gd name="connsiteY161" fmla="*/ 753018 h 5441951"/>
                  <a:gd name="connsiteX162" fmla="*/ 2572073 w 5402761"/>
                  <a:gd name="connsiteY162" fmla="*/ 919694 h 5441951"/>
                  <a:gd name="connsiteX163" fmla="*/ 2825064 w 5402761"/>
                  <a:gd name="connsiteY163" fmla="*/ 964339 h 5441951"/>
                  <a:gd name="connsiteX164" fmla="*/ 2836969 w 5402761"/>
                  <a:gd name="connsiteY164" fmla="*/ 1006008 h 5441951"/>
                  <a:gd name="connsiteX165" fmla="*/ 2878638 w 5402761"/>
                  <a:gd name="connsiteY165" fmla="*/ 1190543 h 5441951"/>
                  <a:gd name="connsiteX166" fmla="*/ 2899473 w 5402761"/>
                  <a:gd name="connsiteY166" fmla="*/ 1378053 h 5441951"/>
                  <a:gd name="connsiteX167" fmla="*/ 2902449 w 5402761"/>
                  <a:gd name="connsiteY167" fmla="*/ 1419722 h 5441951"/>
                  <a:gd name="connsiteX168" fmla="*/ 2691128 w 5402761"/>
                  <a:gd name="connsiteY168" fmla="*/ 1547705 h 5441951"/>
                  <a:gd name="connsiteX169" fmla="*/ 2655411 w 5402761"/>
                  <a:gd name="connsiteY169" fmla="*/ 1762003 h 5441951"/>
                  <a:gd name="connsiteX170" fmla="*/ 2810182 w 5402761"/>
                  <a:gd name="connsiteY170" fmla="*/ 1952489 h 5441951"/>
                  <a:gd name="connsiteX171" fmla="*/ 2792324 w 5402761"/>
                  <a:gd name="connsiteY171" fmla="*/ 1988206 h 5441951"/>
                  <a:gd name="connsiteX172" fmla="*/ 2706010 w 5402761"/>
                  <a:gd name="connsiteY172" fmla="*/ 2160834 h 5441951"/>
                  <a:gd name="connsiteX173" fmla="*/ 2604813 w 5402761"/>
                  <a:gd name="connsiteY173" fmla="*/ 2318581 h 5441951"/>
                  <a:gd name="connsiteX174" fmla="*/ 2581002 w 5402761"/>
                  <a:gd name="connsiteY174" fmla="*/ 2351321 h 5441951"/>
                  <a:gd name="connsiteX175" fmla="*/ 2313130 w 5402761"/>
                  <a:gd name="connsiteY175" fmla="*/ 2309652 h 5441951"/>
                  <a:gd name="connsiteX176" fmla="*/ 2170265 w 5402761"/>
                  <a:gd name="connsiteY176" fmla="*/ 2422754 h 5441951"/>
                  <a:gd name="connsiteX177" fmla="*/ 2164312 w 5402761"/>
                  <a:gd name="connsiteY177" fmla="*/ 2699555 h 5441951"/>
                  <a:gd name="connsiteX178" fmla="*/ 2128596 w 5402761"/>
                  <a:gd name="connsiteY178" fmla="*/ 2717413 h 5441951"/>
                  <a:gd name="connsiteX179" fmla="*/ 1952991 w 5402761"/>
                  <a:gd name="connsiteY179" fmla="*/ 2791822 h 5441951"/>
                  <a:gd name="connsiteX180" fmla="*/ 1774410 w 5402761"/>
                  <a:gd name="connsiteY180" fmla="*/ 2845396 h 5441951"/>
                  <a:gd name="connsiteX181" fmla="*/ 1732741 w 5402761"/>
                  <a:gd name="connsiteY181" fmla="*/ 2854325 h 5441951"/>
                  <a:gd name="connsiteX182" fmla="*/ 1542254 w 5402761"/>
                  <a:gd name="connsiteY182" fmla="*/ 2634075 h 5441951"/>
                  <a:gd name="connsiteX183" fmla="*/ 1384507 w 5402761"/>
                  <a:gd name="connsiteY183" fmla="*/ 2634075 h 5441951"/>
                  <a:gd name="connsiteX184" fmla="*/ 1194020 w 5402761"/>
                  <a:gd name="connsiteY184" fmla="*/ 2854325 h 5441951"/>
                  <a:gd name="connsiteX185" fmla="*/ 1152351 w 5402761"/>
                  <a:gd name="connsiteY185" fmla="*/ 2845396 h 5441951"/>
                  <a:gd name="connsiteX186" fmla="*/ 970793 w 5402761"/>
                  <a:gd name="connsiteY186" fmla="*/ 2791822 h 5441951"/>
                  <a:gd name="connsiteX187" fmla="*/ 798164 w 5402761"/>
                  <a:gd name="connsiteY187" fmla="*/ 2717413 h 5441951"/>
                  <a:gd name="connsiteX188" fmla="*/ 759472 w 5402761"/>
                  <a:gd name="connsiteY188" fmla="*/ 2696578 h 5441951"/>
                  <a:gd name="connsiteX189" fmla="*/ 756495 w 5402761"/>
                  <a:gd name="connsiteY189" fmla="*/ 2419777 h 5441951"/>
                  <a:gd name="connsiteX190" fmla="*/ 613630 w 5402761"/>
                  <a:gd name="connsiteY190" fmla="*/ 2306676 h 5441951"/>
                  <a:gd name="connsiteX191" fmla="*/ 345758 w 5402761"/>
                  <a:gd name="connsiteY191" fmla="*/ 2351321 h 5441951"/>
                  <a:gd name="connsiteX192" fmla="*/ 321947 w 5402761"/>
                  <a:gd name="connsiteY192" fmla="*/ 2315605 h 5441951"/>
                  <a:gd name="connsiteX193" fmla="*/ 217774 w 5402761"/>
                  <a:gd name="connsiteY193" fmla="*/ 2160834 h 5441951"/>
                  <a:gd name="connsiteX194" fmla="*/ 131460 w 5402761"/>
                  <a:gd name="connsiteY194" fmla="*/ 1988206 h 5441951"/>
                  <a:gd name="connsiteX195" fmla="*/ 116578 w 5402761"/>
                  <a:gd name="connsiteY195" fmla="*/ 1952489 h 5441951"/>
                  <a:gd name="connsiteX196" fmla="*/ 274325 w 5402761"/>
                  <a:gd name="connsiteY196" fmla="*/ 1759026 h 5441951"/>
                  <a:gd name="connsiteX197" fmla="*/ 235633 w 5402761"/>
                  <a:gd name="connsiteY197" fmla="*/ 1544729 h 5441951"/>
                  <a:gd name="connsiteX198" fmla="*/ 24311 w 5402761"/>
                  <a:gd name="connsiteY198" fmla="*/ 1419722 h 5441951"/>
                  <a:gd name="connsiteX199" fmla="*/ 27287 w 5402761"/>
                  <a:gd name="connsiteY199" fmla="*/ 1375077 h 5441951"/>
                  <a:gd name="connsiteX200" fmla="*/ 48122 w 5402761"/>
                  <a:gd name="connsiteY200" fmla="*/ 1187566 h 5441951"/>
                  <a:gd name="connsiteX201" fmla="*/ 92767 w 5402761"/>
                  <a:gd name="connsiteY201" fmla="*/ 1006008 h 5441951"/>
                  <a:gd name="connsiteX202" fmla="*/ 104673 w 5402761"/>
                  <a:gd name="connsiteY202" fmla="*/ 964339 h 5441951"/>
                  <a:gd name="connsiteX203" fmla="*/ 357663 w 5402761"/>
                  <a:gd name="connsiteY203" fmla="*/ 916718 h 5441951"/>
                  <a:gd name="connsiteX204" fmla="*/ 464812 w 5402761"/>
                  <a:gd name="connsiteY204" fmla="*/ 753018 h 5441951"/>
                  <a:gd name="connsiteX205" fmla="*/ 372545 w 5402761"/>
                  <a:gd name="connsiteY205" fmla="*/ 497051 h 5441951"/>
                  <a:gd name="connsiteX206" fmla="*/ 402309 w 5402761"/>
                  <a:gd name="connsiteY206" fmla="*/ 467288 h 5441951"/>
                  <a:gd name="connsiteX207" fmla="*/ 539221 w 5402761"/>
                  <a:gd name="connsiteY207" fmla="*/ 339305 h 5441951"/>
                  <a:gd name="connsiteX208" fmla="*/ 693992 w 5402761"/>
                  <a:gd name="connsiteY208" fmla="*/ 223227 h 5441951"/>
                  <a:gd name="connsiteX209" fmla="*/ 726732 w 5402761"/>
                  <a:gd name="connsiteY209" fmla="*/ 199416 h 5441951"/>
                  <a:gd name="connsiteX210" fmla="*/ 985675 w 5402761"/>
                  <a:gd name="connsiteY210" fmla="*/ 345257 h 5441951"/>
                  <a:gd name="connsiteX211" fmla="*/ 1125564 w 5402761"/>
                  <a:gd name="connsiteY211" fmla="*/ 300612 h 5441951"/>
                  <a:gd name="connsiteX212" fmla="*/ 1235689 w 5402761"/>
                  <a:gd name="connsiteY212" fmla="*/ 17858 h 5441951"/>
                  <a:gd name="connsiteX213" fmla="*/ 1277358 w 5402761"/>
                  <a:gd name="connsiteY213" fmla="*/ 11906 h 5441951"/>
                  <a:gd name="connsiteX214" fmla="*/ 1464868 w 5402761"/>
                  <a:gd name="connsiteY214" fmla="*/ 0 h 544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5402761" h="5441951">
                    <a:moveTo>
                      <a:pt x="3533552" y="4075113"/>
                    </a:moveTo>
                    <a:cubicBezTo>
                      <a:pt x="3643735" y="4075113"/>
                      <a:pt x="3643735" y="4075113"/>
                      <a:pt x="3643735" y="4075113"/>
                    </a:cubicBezTo>
                    <a:cubicBezTo>
                      <a:pt x="3643735" y="4155462"/>
                      <a:pt x="3643735" y="4155462"/>
                      <a:pt x="3643735" y="4155462"/>
                    </a:cubicBezTo>
                    <a:cubicBezTo>
                      <a:pt x="3706272" y="4161414"/>
                      <a:pt x="3750941" y="4176294"/>
                      <a:pt x="3780720" y="4197125"/>
                    </a:cubicBezTo>
                    <a:cubicBezTo>
                      <a:pt x="3742007" y="4301281"/>
                      <a:pt x="3742007" y="4301281"/>
                      <a:pt x="3742007" y="4301281"/>
                    </a:cubicBezTo>
                    <a:cubicBezTo>
                      <a:pt x="3694360" y="4271522"/>
                      <a:pt x="3646713" y="4253667"/>
                      <a:pt x="3599066" y="4253667"/>
                    </a:cubicBezTo>
                    <a:cubicBezTo>
                      <a:pt x="3569287" y="4253667"/>
                      <a:pt x="3548441" y="4262594"/>
                      <a:pt x="3530574" y="4277474"/>
                    </a:cubicBezTo>
                    <a:cubicBezTo>
                      <a:pt x="3515684" y="4292353"/>
                      <a:pt x="3506750" y="4313185"/>
                      <a:pt x="3506750" y="4334016"/>
                    </a:cubicBezTo>
                    <a:cubicBezTo>
                      <a:pt x="3506750" y="4375678"/>
                      <a:pt x="3551419" y="4414365"/>
                      <a:pt x="3640757" y="4456027"/>
                    </a:cubicBezTo>
                    <a:cubicBezTo>
                      <a:pt x="3691382" y="4476859"/>
                      <a:pt x="3727117" y="4497690"/>
                      <a:pt x="3747963" y="4518521"/>
                    </a:cubicBezTo>
                    <a:cubicBezTo>
                      <a:pt x="3768808" y="4536376"/>
                      <a:pt x="3780720" y="4560184"/>
                      <a:pt x="3792632" y="4583991"/>
                    </a:cubicBezTo>
                    <a:cubicBezTo>
                      <a:pt x="3804543" y="4610774"/>
                      <a:pt x="3810499" y="4634581"/>
                      <a:pt x="3810499" y="4664340"/>
                    </a:cubicBezTo>
                    <a:cubicBezTo>
                      <a:pt x="3810499" y="4708978"/>
                      <a:pt x="3795610" y="4747665"/>
                      <a:pt x="3768808" y="4780400"/>
                    </a:cubicBezTo>
                    <a:cubicBezTo>
                      <a:pt x="3739029" y="4810158"/>
                      <a:pt x="3697338" y="4833966"/>
                      <a:pt x="3643735" y="4845869"/>
                    </a:cubicBezTo>
                    <a:cubicBezTo>
                      <a:pt x="3643735" y="4953001"/>
                      <a:pt x="3643735" y="4953001"/>
                      <a:pt x="3643735" y="4953001"/>
                    </a:cubicBezTo>
                    <a:cubicBezTo>
                      <a:pt x="3533552" y="4953001"/>
                      <a:pt x="3533552" y="4953001"/>
                      <a:pt x="3533552" y="4953001"/>
                    </a:cubicBezTo>
                    <a:cubicBezTo>
                      <a:pt x="3533552" y="4854797"/>
                      <a:pt x="3533552" y="4854797"/>
                      <a:pt x="3533552" y="4854797"/>
                    </a:cubicBezTo>
                    <a:cubicBezTo>
                      <a:pt x="3479949" y="4848845"/>
                      <a:pt x="3426346" y="4833966"/>
                      <a:pt x="3378699" y="4807183"/>
                    </a:cubicBezTo>
                    <a:cubicBezTo>
                      <a:pt x="3426346" y="4697075"/>
                      <a:pt x="3426346" y="4697075"/>
                      <a:pt x="3426346" y="4697075"/>
                    </a:cubicBezTo>
                    <a:cubicBezTo>
                      <a:pt x="3476971" y="4732785"/>
                      <a:pt x="3524618" y="4747665"/>
                      <a:pt x="3575243" y="4747665"/>
                    </a:cubicBezTo>
                    <a:cubicBezTo>
                      <a:pt x="3646713" y="4747665"/>
                      <a:pt x="3685426" y="4723858"/>
                      <a:pt x="3685426" y="4673267"/>
                    </a:cubicBezTo>
                    <a:cubicBezTo>
                      <a:pt x="3685426" y="4649460"/>
                      <a:pt x="3676492" y="4625653"/>
                      <a:pt x="3655647" y="4607798"/>
                    </a:cubicBezTo>
                    <a:cubicBezTo>
                      <a:pt x="3637779" y="4586967"/>
                      <a:pt x="3602044" y="4563159"/>
                      <a:pt x="3548441" y="4536376"/>
                    </a:cubicBezTo>
                    <a:cubicBezTo>
                      <a:pt x="3494839" y="4509593"/>
                      <a:pt x="3459103" y="4488762"/>
                      <a:pt x="3441236" y="4473883"/>
                    </a:cubicBezTo>
                    <a:cubicBezTo>
                      <a:pt x="3420390" y="4456027"/>
                      <a:pt x="3405501" y="4435196"/>
                      <a:pt x="3396567" y="4414365"/>
                    </a:cubicBezTo>
                    <a:cubicBezTo>
                      <a:pt x="3384655" y="4390558"/>
                      <a:pt x="3381677" y="4363775"/>
                      <a:pt x="3381677" y="4336992"/>
                    </a:cubicBezTo>
                    <a:cubicBezTo>
                      <a:pt x="3381677" y="4292353"/>
                      <a:pt x="3393589" y="4256643"/>
                      <a:pt x="3423368" y="4226884"/>
                    </a:cubicBezTo>
                    <a:cubicBezTo>
                      <a:pt x="3450170" y="4194149"/>
                      <a:pt x="3485905" y="4170342"/>
                      <a:pt x="3533552" y="4161414"/>
                    </a:cubicBezTo>
                    <a:cubicBezTo>
                      <a:pt x="3533552" y="4075113"/>
                      <a:pt x="3533552" y="4075113"/>
                      <a:pt x="3533552" y="4075113"/>
                    </a:cubicBezTo>
                    <a:close/>
                    <a:moveTo>
                      <a:pt x="1932486" y="3735388"/>
                    </a:moveTo>
                    <a:lnTo>
                      <a:pt x="1932486" y="5310188"/>
                    </a:lnTo>
                    <a:lnTo>
                      <a:pt x="5272586" y="5310188"/>
                    </a:lnTo>
                    <a:lnTo>
                      <a:pt x="5272586" y="3735388"/>
                    </a:lnTo>
                    <a:close/>
                    <a:moveTo>
                      <a:pt x="1867774" y="3608388"/>
                    </a:moveTo>
                    <a:cubicBezTo>
                      <a:pt x="5337298" y="3608388"/>
                      <a:pt x="5337298" y="3608388"/>
                      <a:pt x="5337298" y="3608388"/>
                    </a:cubicBezTo>
                    <a:cubicBezTo>
                      <a:pt x="5373005" y="3608388"/>
                      <a:pt x="5402761" y="3635177"/>
                      <a:pt x="5402761" y="3670896"/>
                    </a:cubicBezTo>
                    <a:cubicBezTo>
                      <a:pt x="5402761" y="5376467"/>
                      <a:pt x="5402761" y="5376467"/>
                      <a:pt x="5402761" y="5376467"/>
                    </a:cubicBezTo>
                    <a:cubicBezTo>
                      <a:pt x="5402761" y="5412186"/>
                      <a:pt x="5373005" y="5441951"/>
                      <a:pt x="5337298" y="5441951"/>
                    </a:cubicBezTo>
                    <a:cubicBezTo>
                      <a:pt x="1867774" y="5441951"/>
                      <a:pt x="1867774" y="5441951"/>
                      <a:pt x="1867774" y="5441951"/>
                    </a:cubicBezTo>
                    <a:cubicBezTo>
                      <a:pt x="1832067" y="5441951"/>
                      <a:pt x="1802311" y="5412186"/>
                      <a:pt x="1802311" y="5376467"/>
                    </a:cubicBezTo>
                    <a:cubicBezTo>
                      <a:pt x="1802311" y="3670896"/>
                      <a:pt x="1802311" y="3670896"/>
                      <a:pt x="1802311" y="3670896"/>
                    </a:cubicBezTo>
                    <a:cubicBezTo>
                      <a:pt x="1802311" y="3635177"/>
                      <a:pt x="1832067" y="3608388"/>
                      <a:pt x="1867774" y="3608388"/>
                    </a:cubicBezTo>
                    <a:close/>
                    <a:moveTo>
                      <a:pt x="409138" y="2566988"/>
                    </a:moveTo>
                    <a:cubicBezTo>
                      <a:pt x="409138" y="2566988"/>
                      <a:pt x="409138" y="2566988"/>
                      <a:pt x="465674" y="2623521"/>
                    </a:cubicBezTo>
                    <a:cubicBezTo>
                      <a:pt x="581720" y="2739561"/>
                      <a:pt x="769180" y="2929987"/>
                      <a:pt x="792985" y="2950815"/>
                    </a:cubicBezTo>
                    <a:cubicBezTo>
                      <a:pt x="822740" y="2977594"/>
                      <a:pt x="828691" y="3022225"/>
                      <a:pt x="804887" y="3057929"/>
                    </a:cubicBezTo>
                    <a:cubicBezTo>
                      <a:pt x="790009" y="3075782"/>
                      <a:pt x="766205" y="3087683"/>
                      <a:pt x="742400" y="3087683"/>
                    </a:cubicBezTo>
                    <a:cubicBezTo>
                      <a:pt x="724547" y="3087683"/>
                      <a:pt x="709669" y="3081733"/>
                      <a:pt x="694791" y="3072806"/>
                    </a:cubicBezTo>
                    <a:cubicBezTo>
                      <a:pt x="688840" y="3069831"/>
                      <a:pt x="679914" y="3060905"/>
                      <a:pt x="489478" y="2867504"/>
                    </a:cubicBezTo>
                    <a:cubicBezTo>
                      <a:pt x="489478" y="2867504"/>
                      <a:pt x="489478" y="2867504"/>
                      <a:pt x="489478" y="4444467"/>
                    </a:cubicBezTo>
                    <a:cubicBezTo>
                      <a:pt x="489478" y="4444467"/>
                      <a:pt x="489478" y="4444467"/>
                      <a:pt x="1667797" y="4444467"/>
                    </a:cubicBezTo>
                    <a:cubicBezTo>
                      <a:pt x="1712430" y="4444467"/>
                      <a:pt x="1745161" y="4480172"/>
                      <a:pt x="1745161" y="4524803"/>
                    </a:cubicBezTo>
                    <a:cubicBezTo>
                      <a:pt x="1745161" y="4566458"/>
                      <a:pt x="1712430" y="4602163"/>
                      <a:pt x="1667797" y="4602163"/>
                    </a:cubicBezTo>
                    <a:cubicBezTo>
                      <a:pt x="1667797" y="4602163"/>
                      <a:pt x="1667797" y="4602163"/>
                      <a:pt x="331774" y="4602163"/>
                    </a:cubicBezTo>
                    <a:cubicBezTo>
                      <a:pt x="331774" y="4602163"/>
                      <a:pt x="331774" y="4602163"/>
                      <a:pt x="331774" y="2867504"/>
                    </a:cubicBezTo>
                    <a:cubicBezTo>
                      <a:pt x="331774" y="2867504"/>
                      <a:pt x="331774" y="2867504"/>
                      <a:pt x="132412" y="3063880"/>
                    </a:cubicBezTo>
                    <a:cubicBezTo>
                      <a:pt x="102657" y="3096610"/>
                      <a:pt x="52072" y="3096610"/>
                      <a:pt x="22316" y="3063880"/>
                    </a:cubicBezTo>
                    <a:cubicBezTo>
                      <a:pt x="-7439" y="3034126"/>
                      <a:pt x="-7439" y="2983544"/>
                      <a:pt x="22316" y="2953790"/>
                    </a:cubicBezTo>
                    <a:cubicBezTo>
                      <a:pt x="22316" y="2953790"/>
                      <a:pt x="22316" y="2953790"/>
                      <a:pt x="409138" y="2566988"/>
                    </a:cubicBezTo>
                    <a:close/>
                    <a:moveTo>
                      <a:pt x="3075116" y="1373188"/>
                    </a:moveTo>
                    <a:cubicBezTo>
                      <a:pt x="3075116" y="1373188"/>
                      <a:pt x="3075116" y="1373188"/>
                      <a:pt x="4412049" y="1373188"/>
                    </a:cubicBezTo>
                    <a:cubicBezTo>
                      <a:pt x="4412049" y="1373188"/>
                      <a:pt x="4412049" y="1373188"/>
                      <a:pt x="4412049" y="3104872"/>
                    </a:cubicBezTo>
                    <a:cubicBezTo>
                      <a:pt x="4412049" y="3104872"/>
                      <a:pt x="4412049" y="3104872"/>
                      <a:pt x="4605591" y="2914446"/>
                    </a:cubicBezTo>
                    <a:cubicBezTo>
                      <a:pt x="4635367" y="2884692"/>
                      <a:pt x="4685986" y="2884692"/>
                      <a:pt x="4715761" y="2917422"/>
                    </a:cubicBezTo>
                    <a:cubicBezTo>
                      <a:pt x="4745537" y="2947176"/>
                      <a:pt x="4745537" y="2997758"/>
                      <a:pt x="4715761" y="3027512"/>
                    </a:cubicBezTo>
                    <a:cubicBezTo>
                      <a:pt x="4715761" y="3027512"/>
                      <a:pt x="4715761" y="3027512"/>
                      <a:pt x="4400138" y="3336954"/>
                    </a:cubicBezTo>
                    <a:cubicBezTo>
                      <a:pt x="4394183" y="3348855"/>
                      <a:pt x="4385250" y="3357781"/>
                      <a:pt x="4376318" y="3363732"/>
                    </a:cubicBezTo>
                    <a:cubicBezTo>
                      <a:pt x="4376318" y="3363732"/>
                      <a:pt x="4376318" y="3363732"/>
                      <a:pt x="4331654" y="3408363"/>
                    </a:cubicBezTo>
                    <a:cubicBezTo>
                      <a:pt x="4331654" y="3408363"/>
                      <a:pt x="4331654" y="3408363"/>
                      <a:pt x="4275080" y="3351831"/>
                    </a:cubicBezTo>
                    <a:cubicBezTo>
                      <a:pt x="4161932" y="3238765"/>
                      <a:pt x="3974345" y="3051315"/>
                      <a:pt x="3953502" y="3030487"/>
                    </a:cubicBezTo>
                    <a:cubicBezTo>
                      <a:pt x="3920748" y="3003709"/>
                      <a:pt x="3914793" y="2959077"/>
                      <a:pt x="3938614" y="2923373"/>
                    </a:cubicBezTo>
                    <a:cubicBezTo>
                      <a:pt x="3965412" y="2890643"/>
                      <a:pt x="4013053" y="2881717"/>
                      <a:pt x="4048784" y="2908496"/>
                    </a:cubicBezTo>
                    <a:cubicBezTo>
                      <a:pt x="4054739" y="2911471"/>
                      <a:pt x="4063672" y="2917422"/>
                      <a:pt x="4257214" y="3110823"/>
                    </a:cubicBezTo>
                    <a:cubicBezTo>
                      <a:pt x="4257214" y="3110823"/>
                      <a:pt x="4257214" y="3110823"/>
                      <a:pt x="4257214" y="1527909"/>
                    </a:cubicBezTo>
                    <a:cubicBezTo>
                      <a:pt x="4257214" y="1527909"/>
                      <a:pt x="4257214" y="1527909"/>
                      <a:pt x="3075116" y="1527909"/>
                    </a:cubicBezTo>
                    <a:cubicBezTo>
                      <a:pt x="3033430" y="1527909"/>
                      <a:pt x="2997699" y="1495180"/>
                      <a:pt x="2997699" y="1450549"/>
                    </a:cubicBezTo>
                    <a:cubicBezTo>
                      <a:pt x="2997699" y="1408893"/>
                      <a:pt x="3033430" y="1373188"/>
                      <a:pt x="3075116" y="1373188"/>
                    </a:cubicBezTo>
                    <a:close/>
                    <a:moveTo>
                      <a:pt x="1464174" y="669925"/>
                    </a:moveTo>
                    <a:cubicBezTo>
                      <a:pt x="1038949" y="669925"/>
                      <a:pt x="694236" y="1014993"/>
                      <a:pt x="694236" y="1440657"/>
                    </a:cubicBezTo>
                    <a:cubicBezTo>
                      <a:pt x="694236" y="1866321"/>
                      <a:pt x="1038949" y="2211389"/>
                      <a:pt x="1464174" y="2211389"/>
                    </a:cubicBezTo>
                    <a:cubicBezTo>
                      <a:pt x="1889399" y="2211389"/>
                      <a:pt x="2234112" y="1866321"/>
                      <a:pt x="2234112" y="1440657"/>
                    </a:cubicBezTo>
                    <a:cubicBezTo>
                      <a:pt x="2234112" y="1014993"/>
                      <a:pt x="1889399" y="669925"/>
                      <a:pt x="1464174" y="669925"/>
                    </a:cubicBezTo>
                    <a:close/>
                    <a:moveTo>
                      <a:pt x="1465761" y="533400"/>
                    </a:moveTo>
                    <a:cubicBezTo>
                      <a:pt x="1967263" y="533400"/>
                      <a:pt x="2373811" y="939948"/>
                      <a:pt x="2373811" y="1441450"/>
                    </a:cubicBezTo>
                    <a:cubicBezTo>
                      <a:pt x="2373811" y="1942952"/>
                      <a:pt x="1967263" y="2349500"/>
                      <a:pt x="1465761" y="2349500"/>
                    </a:cubicBezTo>
                    <a:cubicBezTo>
                      <a:pt x="964259" y="2349500"/>
                      <a:pt x="557711" y="1942952"/>
                      <a:pt x="557711" y="1441450"/>
                    </a:cubicBezTo>
                    <a:cubicBezTo>
                      <a:pt x="557711" y="939948"/>
                      <a:pt x="964259" y="533400"/>
                      <a:pt x="1465761" y="533400"/>
                    </a:cubicBezTo>
                    <a:close/>
                    <a:moveTo>
                      <a:pt x="1333910" y="142875"/>
                    </a:moveTo>
                    <a:cubicBezTo>
                      <a:pt x="1333910" y="142875"/>
                      <a:pt x="1333910" y="142875"/>
                      <a:pt x="1232714" y="416804"/>
                    </a:cubicBezTo>
                    <a:cubicBezTo>
                      <a:pt x="1232714" y="416804"/>
                      <a:pt x="1232714" y="416804"/>
                      <a:pt x="1196998" y="425736"/>
                    </a:cubicBezTo>
                    <a:cubicBezTo>
                      <a:pt x="1131519" y="440624"/>
                      <a:pt x="1071992" y="461466"/>
                      <a:pt x="1009489" y="488263"/>
                    </a:cubicBezTo>
                    <a:cubicBezTo>
                      <a:pt x="1009489" y="488263"/>
                      <a:pt x="1009489" y="488263"/>
                      <a:pt x="979726" y="503152"/>
                    </a:cubicBezTo>
                    <a:cubicBezTo>
                      <a:pt x="979726" y="503152"/>
                      <a:pt x="979726" y="503152"/>
                      <a:pt x="732690" y="363209"/>
                    </a:cubicBezTo>
                    <a:cubicBezTo>
                      <a:pt x="682092" y="401916"/>
                      <a:pt x="631494" y="440624"/>
                      <a:pt x="628518" y="443601"/>
                    </a:cubicBezTo>
                    <a:cubicBezTo>
                      <a:pt x="628518" y="443601"/>
                      <a:pt x="577920" y="485287"/>
                      <a:pt x="530299" y="532926"/>
                    </a:cubicBezTo>
                    <a:cubicBezTo>
                      <a:pt x="530299" y="532926"/>
                      <a:pt x="530299" y="532926"/>
                      <a:pt x="619589" y="777080"/>
                    </a:cubicBezTo>
                    <a:cubicBezTo>
                      <a:pt x="619589" y="777080"/>
                      <a:pt x="619589" y="777080"/>
                      <a:pt x="592802" y="806854"/>
                    </a:cubicBezTo>
                    <a:cubicBezTo>
                      <a:pt x="542204" y="869382"/>
                      <a:pt x="500536" y="937864"/>
                      <a:pt x="467796" y="1009324"/>
                    </a:cubicBezTo>
                    <a:cubicBezTo>
                      <a:pt x="467796" y="1009324"/>
                      <a:pt x="467796" y="1009324"/>
                      <a:pt x="452914" y="1039098"/>
                    </a:cubicBezTo>
                    <a:cubicBezTo>
                      <a:pt x="452914" y="1039098"/>
                      <a:pt x="452914" y="1039098"/>
                      <a:pt x="211831" y="1086738"/>
                    </a:cubicBezTo>
                    <a:cubicBezTo>
                      <a:pt x="196949" y="1146289"/>
                      <a:pt x="185044" y="1205838"/>
                      <a:pt x="185044" y="1211793"/>
                    </a:cubicBezTo>
                    <a:cubicBezTo>
                      <a:pt x="185044" y="1214771"/>
                      <a:pt x="173139" y="1277297"/>
                      <a:pt x="167186" y="1345779"/>
                    </a:cubicBezTo>
                    <a:cubicBezTo>
                      <a:pt x="167186" y="1345779"/>
                      <a:pt x="167186" y="1345779"/>
                      <a:pt x="366601" y="1461902"/>
                    </a:cubicBezTo>
                    <a:cubicBezTo>
                      <a:pt x="366601" y="1461902"/>
                      <a:pt x="366601" y="1461902"/>
                      <a:pt x="369577" y="1500609"/>
                    </a:cubicBezTo>
                    <a:cubicBezTo>
                      <a:pt x="375530" y="1583978"/>
                      <a:pt x="390411" y="1673303"/>
                      <a:pt x="417198" y="1756673"/>
                    </a:cubicBezTo>
                    <a:cubicBezTo>
                      <a:pt x="417198" y="1756673"/>
                      <a:pt x="417198" y="1756673"/>
                      <a:pt x="429104" y="1789425"/>
                    </a:cubicBezTo>
                    <a:cubicBezTo>
                      <a:pt x="429104" y="1789425"/>
                      <a:pt x="429104" y="1789425"/>
                      <a:pt x="277311" y="1974029"/>
                    </a:cubicBezTo>
                    <a:cubicBezTo>
                      <a:pt x="304098" y="2033579"/>
                      <a:pt x="336837" y="2090151"/>
                      <a:pt x="336837" y="2090151"/>
                    </a:cubicBezTo>
                    <a:cubicBezTo>
                      <a:pt x="336837" y="2090151"/>
                      <a:pt x="369577" y="2146723"/>
                      <a:pt x="408269" y="2200318"/>
                    </a:cubicBezTo>
                    <a:cubicBezTo>
                      <a:pt x="408269" y="2200318"/>
                      <a:pt x="408269" y="2200318"/>
                      <a:pt x="658281" y="2161611"/>
                    </a:cubicBezTo>
                    <a:cubicBezTo>
                      <a:pt x="658281" y="2161611"/>
                      <a:pt x="658281" y="2161611"/>
                      <a:pt x="685068" y="2185431"/>
                    </a:cubicBezTo>
                    <a:cubicBezTo>
                      <a:pt x="735666" y="2236048"/>
                      <a:pt x="798169" y="2283688"/>
                      <a:pt x="863649" y="2325372"/>
                    </a:cubicBezTo>
                    <a:cubicBezTo>
                      <a:pt x="863649" y="2325372"/>
                      <a:pt x="863649" y="2325372"/>
                      <a:pt x="896388" y="2346215"/>
                    </a:cubicBezTo>
                    <a:cubicBezTo>
                      <a:pt x="896388" y="2346215"/>
                      <a:pt x="896388" y="2346215"/>
                      <a:pt x="896388" y="2611211"/>
                    </a:cubicBezTo>
                    <a:cubicBezTo>
                      <a:pt x="955915" y="2638008"/>
                      <a:pt x="1018418" y="2661828"/>
                      <a:pt x="1018418" y="2661828"/>
                    </a:cubicBezTo>
                    <a:cubicBezTo>
                      <a:pt x="1018418" y="2661828"/>
                      <a:pt x="1080921" y="2682671"/>
                      <a:pt x="1143424" y="2700536"/>
                    </a:cubicBezTo>
                    <a:cubicBezTo>
                      <a:pt x="1143424" y="2700536"/>
                      <a:pt x="1143424" y="2700536"/>
                      <a:pt x="1324981" y="2492112"/>
                    </a:cubicBezTo>
                    <a:cubicBezTo>
                      <a:pt x="1324981" y="2492112"/>
                      <a:pt x="1324981" y="2492112"/>
                      <a:pt x="1360697" y="2495089"/>
                    </a:cubicBezTo>
                    <a:cubicBezTo>
                      <a:pt x="1429152" y="2501044"/>
                      <a:pt x="1494632" y="2501044"/>
                      <a:pt x="1566064" y="2495089"/>
                    </a:cubicBezTo>
                    <a:cubicBezTo>
                      <a:pt x="1566064" y="2495089"/>
                      <a:pt x="1566064" y="2495089"/>
                      <a:pt x="1601780" y="2492112"/>
                    </a:cubicBezTo>
                    <a:cubicBezTo>
                      <a:pt x="1601780" y="2492112"/>
                      <a:pt x="1601780" y="2492112"/>
                      <a:pt x="1783336" y="2703513"/>
                    </a:cubicBezTo>
                    <a:cubicBezTo>
                      <a:pt x="1845839" y="2685648"/>
                      <a:pt x="1902390" y="2661828"/>
                      <a:pt x="1905366" y="2661828"/>
                    </a:cubicBezTo>
                    <a:cubicBezTo>
                      <a:pt x="1905366" y="2661828"/>
                      <a:pt x="1967869" y="2638008"/>
                      <a:pt x="2030372" y="2611211"/>
                    </a:cubicBezTo>
                    <a:cubicBezTo>
                      <a:pt x="2030372" y="2611211"/>
                      <a:pt x="2030372" y="2611211"/>
                      <a:pt x="2033348" y="2349192"/>
                    </a:cubicBezTo>
                    <a:cubicBezTo>
                      <a:pt x="2033348" y="2349192"/>
                      <a:pt x="2033348" y="2349192"/>
                      <a:pt x="2063112" y="2328350"/>
                    </a:cubicBezTo>
                    <a:cubicBezTo>
                      <a:pt x="2128591" y="2286665"/>
                      <a:pt x="2188118" y="2239025"/>
                      <a:pt x="2244668" y="2185431"/>
                    </a:cubicBezTo>
                    <a:cubicBezTo>
                      <a:pt x="2244668" y="2185431"/>
                      <a:pt x="2244668" y="2185431"/>
                      <a:pt x="2271455" y="2161611"/>
                    </a:cubicBezTo>
                    <a:cubicBezTo>
                      <a:pt x="2271455" y="2161611"/>
                      <a:pt x="2271455" y="2161611"/>
                      <a:pt x="2518491" y="2200318"/>
                    </a:cubicBezTo>
                    <a:cubicBezTo>
                      <a:pt x="2554207" y="2149701"/>
                      <a:pt x="2586947" y="2093129"/>
                      <a:pt x="2589923" y="2090151"/>
                    </a:cubicBezTo>
                    <a:cubicBezTo>
                      <a:pt x="2589923" y="2090151"/>
                      <a:pt x="2622663" y="2033579"/>
                      <a:pt x="2649450" y="1977007"/>
                    </a:cubicBezTo>
                    <a:cubicBezTo>
                      <a:pt x="2649450" y="1977007"/>
                      <a:pt x="2649450" y="1977007"/>
                      <a:pt x="2497657" y="1792402"/>
                    </a:cubicBezTo>
                    <a:cubicBezTo>
                      <a:pt x="2497657" y="1792402"/>
                      <a:pt x="2497657" y="1792402"/>
                      <a:pt x="2509562" y="1756673"/>
                    </a:cubicBezTo>
                    <a:cubicBezTo>
                      <a:pt x="2536349" y="1673303"/>
                      <a:pt x="2554207" y="1586956"/>
                      <a:pt x="2557183" y="1500609"/>
                    </a:cubicBezTo>
                    <a:cubicBezTo>
                      <a:pt x="2557183" y="1500609"/>
                      <a:pt x="2557183" y="1500609"/>
                      <a:pt x="2560160" y="1464879"/>
                    </a:cubicBezTo>
                    <a:cubicBezTo>
                      <a:pt x="2560160" y="1464879"/>
                      <a:pt x="2560160" y="1464879"/>
                      <a:pt x="2759574" y="1345779"/>
                    </a:cubicBezTo>
                    <a:cubicBezTo>
                      <a:pt x="2753621" y="1280275"/>
                      <a:pt x="2741716" y="1214771"/>
                      <a:pt x="2741716" y="1214771"/>
                    </a:cubicBezTo>
                    <a:cubicBezTo>
                      <a:pt x="2741716" y="1214771"/>
                      <a:pt x="2729811" y="1152243"/>
                      <a:pt x="2714929" y="1086738"/>
                    </a:cubicBezTo>
                    <a:cubicBezTo>
                      <a:pt x="2714929" y="1086738"/>
                      <a:pt x="2714929" y="1086738"/>
                      <a:pt x="2476822" y="1042076"/>
                    </a:cubicBezTo>
                    <a:cubicBezTo>
                      <a:pt x="2476822" y="1042076"/>
                      <a:pt x="2476822" y="1042076"/>
                      <a:pt x="2461941" y="1009324"/>
                    </a:cubicBezTo>
                    <a:cubicBezTo>
                      <a:pt x="2429201" y="940841"/>
                      <a:pt x="2384556" y="869382"/>
                      <a:pt x="2333958" y="806854"/>
                    </a:cubicBezTo>
                    <a:cubicBezTo>
                      <a:pt x="2333958" y="806854"/>
                      <a:pt x="2333958" y="806854"/>
                      <a:pt x="2310148" y="777080"/>
                    </a:cubicBezTo>
                    <a:cubicBezTo>
                      <a:pt x="2310148" y="777080"/>
                      <a:pt x="2310148" y="777080"/>
                      <a:pt x="2396461" y="532926"/>
                    </a:cubicBezTo>
                    <a:cubicBezTo>
                      <a:pt x="2348840" y="488263"/>
                      <a:pt x="2301218" y="446579"/>
                      <a:pt x="2298242" y="443601"/>
                    </a:cubicBezTo>
                    <a:cubicBezTo>
                      <a:pt x="2292289" y="440624"/>
                      <a:pt x="2247645" y="401916"/>
                      <a:pt x="2197047" y="363209"/>
                    </a:cubicBezTo>
                    <a:cubicBezTo>
                      <a:pt x="2197047" y="363209"/>
                      <a:pt x="2197047" y="363209"/>
                      <a:pt x="1950011" y="503152"/>
                    </a:cubicBezTo>
                    <a:cubicBezTo>
                      <a:pt x="1950011" y="503152"/>
                      <a:pt x="1950011" y="503152"/>
                      <a:pt x="1917271" y="488263"/>
                    </a:cubicBezTo>
                    <a:cubicBezTo>
                      <a:pt x="1860721" y="461466"/>
                      <a:pt x="1798218" y="440624"/>
                      <a:pt x="1732739" y="425736"/>
                    </a:cubicBezTo>
                    <a:cubicBezTo>
                      <a:pt x="1732739" y="425736"/>
                      <a:pt x="1732739" y="425736"/>
                      <a:pt x="1697023" y="416804"/>
                    </a:cubicBezTo>
                    <a:cubicBezTo>
                      <a:pt x="1697023" y="416804"/>
                      <a:pt x="1697023" y="416804"/>
                      <a:pt x="1595827" y="142875"/>
                    </a:cubicBezTo>
                    <a:cubicBezTo>
                      <a:pt x="1527371" y="142875"/>
                      <a:pt x="1464868" y="142875"/>
                      <a:pt x="1464868" y="142875"/>
                    </a:cubicBezTo>
                    <a:cubicBezTo>
                      <a:pt x="1464868" y="142875"/>
                      <a:pt x="1399389" y="142875"/>
                      <a:pt x="1333910" y="142875"/>
                    </a:cubicBezTo>
                    <a:close/>
                    <a:moveTo>
                      <a:pt x="1464868" y="0"/>
                    </a:moveTo>
                    <a:cubicBezTo>
                      <a:pt x="1470821" y="0"/>
                      <a:pt x="1569041" y="0"/>
                      <a:pt x="1655355" y="11906"/>
                    </a:cubicBezTo>
                    <a:cubicBezTo>
                      <a:pt x="1655355" y="11906"/>
                      <a:pt x="1655355" y="11906"/>
                      <a:pt x="1694048" y="17858"/>
                    </a:cubicBezTo>
                    <a:cubicBezTo>
                      <a:pt x="1694048" y="17858"/>
                      <a:pt x="1694048" y="17858"/>
                      <a:pt x="1801197" y="300612"/>
                    </a:cubicBezTo>
                    <a:cubicBezTo>
                      <a:pt x="1848819" y="315494"/>
                      <a:pt x="1896440" y="330376"/>
                      <a:pt x="1941086" y="348234"/>
                    </a:cubicBezTo>
                    <a:cubicBezTo>
                      <a:pt x="1941086" y="348234"/>
                      <a:pt x="1941086" y="348234"/>
                      <a:pt x="2203005" y="202392"/>
                    </a:cubicBezTo>
                    <a:cubicBezTo>
                      <a:pt x="2203005" y="202392"/>
                      <a:pt x="2203005" y="202392"/>
                      <a:pt x="2238721" y="226203"/>
                    </a:cubicBezTo>
                    <a:cubicBezTo>
                      <a:pt x="2310154" y="273825"/>
                      <a:pt x="2387539" y="339305"/>
                      <a:pt x="2387539" y="339305"/>
                    </a:cubicBezTo>
                    <a:cubicBezTo>
                      <a:pt x="2390516" y="342281"/>
                      <a:pt x="2467901" y="404784"/>
                      <a:pt x="2524452" y="467288"/>
                    </a:cubicBezTo>
                    <a:cubicBezTo>
                      <a:pt x="2524452" y="467288"/>
                      <a:pt x="2524452" y="467288"/>
                      <a:pt x="2554215" y="500028"/>
                    </a:cubicBezTo>
                    <a:cubicBezTo>
                      <a:pt x="2554215" y="500028"/>
                      <a:pt x="2554215" y="500028"/>
                      <a:pt x="2467901" y="753018"/>
                    </a:cubicBezTo>
                    <a:cubicBezTo>
                      <a:pt x="2503617" y="803616"/>
                      <a:pt x="2539333" y="860167"/>
                      <a:pt x="2572073" y="919694"/>
                    </a:cubicBezTo>
                    <a:cubicBezTo>
                      <a:pt x="2572073" y="919694"/>
                      <a:pt x="2572073" y="919694"/>
                      <a:pt x="2825064" y="964339"/>
                    </a:cubicBezTo>
                    <a:cubicBezTo>
                      <a:pt x="2825064" y="964339"/>
                      <a:pt x="2825064" y="964339"/>
                      <a:pt x="2836969" y="1006008"/>
                    </a:cubicBezTo>
                    <a:cubicBezTo>
                      <a:pt x="2863756" y="1089346"/>
                      <a:pt x="2878638" y="1187566"/>
                      <a:pt x="2878638" y="1190543"/>
                    </a:cubicBezTo>
                    <a:cubicBezTo>
                      <a:pt x="2878638" y="1190543"/>
                      <a:pt x="2896496" y="1291738"/>
                      <a:pt x="2899473" y="1378053"/>
                    </a:cubicBezTo>
                    <a:cubicBezTo>
                      <a:pt x="2899473" y="1378053"/>
                      <a:pt x="2899473" y="1378053"/>
                      <a:pt x="2902449" y="1419722"/>
                    </a:cubicBezTo>
                    <a:cubicBezTo>
                      <a:pt x="2902449" y="1419722"/>
                      <a:pt x="2902449" y="1419722"/>
                      <a:pt x="2691128" y="1547705"/>
                    </a:cubicBezTo>
                    <a:cubicBezTo>
                      <a:pt x="2685175" y="1619138"/>
                      <a:pt x="2676246" y="1690570"/>
                      <a:pt x="2655411" y="1762003"/>
                    </a:cubicBezTo>
                    <a:cubicBezTo>
                      <a:pt x="2655411" y="1762003"/>
                      <a:pt x="2655411" y="1762003"/>
                      <a:pt x="2810182" y="1952489"/>
                    </a:cubicBezTo>
                    <a:cubicBezTo>
                      <a:pt x="2810182" y="1952489"/>
                      <a:pt x="2810182" y="1952489"/>
                      <a:pt x="2792324" y="1988206"/>
                    </a:cubicBezTo>
                    <a:cubicBezTo>
                      <a:pt x="2759584" y="2071544"/>
                      <a:pt x="2708986" y="2160834"/>
                      <a:pt x="2706010" y="2160834"/>
                    </a:cubicBezTo>
                    <a:cubicBezTo>
                      <a:pt x="2703033" y="2169763"/>
                      <a:pt x="2655411" y="2250125"/>
                      <a:pt x="2604813" y="2318581"/>
                    </a:cubicBezTo>
                    <a:cubicBezTo>
                      <a:pt x="2604813" y="2318581"/>
                      <a:pt x="2604813" y="2318581"/>
                      <a:pt x="2581002" y="2351321"/>
                    </a:cubicBezTo>
                    <a:cubicBezTo>
                      <a:pt x="2581002" y="2351321"/>
                      <a:pt x="2581002" y="2351321"/>
                      <a:pt x="2313130" y="2309652"/>
                    </a:cubicBezTo>
                    <a:cubicBezTo>
                      <a:pt x="2271461" y="2351321"/>
                      <a:pt x="2220863" y="2390014"/>
                      <a:pt x="2170265" y="2422754"/>
                    </a:cubicBezTo>
                    <a:cubicBezTo>
                      <a:pt x="2170265" y="2422754"/>
                      <a:pt x="2170265" y="2422754"/>
                      <a:pt x="2164312" y="2699555"/>
                    </a:cubicBezTo>
                    <a:cubicBezTo>
                      <a:pt x="2164312" y="2699555"/>
                      <a:pt x="2164312" y="2699555"/>
                      <a:pt x="2128596" y="2717413"/>
                    </a:cubicBezTo>
                    <a:cubicBezTo>
                      <a:pt x="2054187" y="2756105"/>
                      <a:pt x="1958944" y="2791822"/>
                      <a:pt x="1952991" y="2791822"/>
                    </a:cubicBezTo>
                    <a:cubicBezTo>
                      <a:pt x="1950015" y="2794798"/>
                      <a:pt x="1857748" y="2824562"/>
                      <a:pt x="1774410" y="2845396"/>
                    </a:cubicBezTo>
                    <a:cubicBezTo>
                      <a:pt x="1774410" y="2845396"/>
                      <a:pt x="1774410" y="2845396"/>
                      <a:pt x="1732741" y="2854325"/>
                    </a:cubicBezTo>
                    <a:cubicBezTo>
                      <a:pt x="1732741" y="2854325"/>
                      <a:pt x="1732741" y="2854325"/>
                      <a:pt x="1542254" y="2634075"/>
                    </a:cubicBezTo>
                    <a:cubicBezTo>
                      <a:pt x="1488679" y="2637051"/>
                      <a:pt x="1438081" y="2637051"/>
                      <a:pt x="1384507" y="2634075"/>
                    </a:cubicBezTo>
                    <a:cubicBezTo>
                      <a:pt x="1384507" y="2634075"/>
                      <a:pt x="1384507" y="2634075"/>
                      <a:pt x="1194020" y="2854325"/>
                    </a:cubicBezTo>
                    <a:cubicBezTo>
                      <a:pt x="1194020" y="2854325"/>
                      <a:pt x="1194020" y="2854325"/>
                      <a:pt x="1152351" y="2845396"/>
                    </a:cubicBezTo>
                    <a:cubicBezTo>
                      <a:pt x="1069013" y="2824562"/>
                      <a:pt x="973769" y="2794798"/>
                      <a:pt x="970793" y="2791822"/>
                    </a:cubicBezTo>
                    <a:cubicBezTo>
                      <a:pt x="967817" y="2791822"/>
                      <a:pt x="875550" y="2756105"/>
                      <a:pt x="798164" y="2717413"/>
                    </a:cubicBezTo>
                    <a:cubicBezTo>
                      <a:pt x="798164" y="2717413"/>
                      <a:pt x="798164" y="2717413"/>
                      <a:pt x="759472" y="2696578"/>
                    </a:cubicBezTo>
                    <a:cubicBezTo>
                      <a:pt x="759472" y="2696578"/>
                      <a:pt x="759472" y="2696578"/>
                      <a:pt x="756495" y="2419777"/>
                    </a:cubicBezTo>
                    <a:cubicBezTo>
                      <a:pt x="705897" y="2387037"/>
                      <a:pt x="658275" y="2348345"/>
                      <a:pt x="613630" y="2306676"/>
                    </a:cubicBezTo>
                    <a:cubicBezTo>
                      <a:pt x="613630" y="2306676"/>
                      <a:pt x="613630" y="2306676"/>
                      <a:pt x="345758" y="2351321"/>
                    </a:cubicBezTo>
                    <a:cubicBezTo>
                      <a:pt x="345758" y="2351321"/>
                      <a:pt x="345758" y="2351321"/>
                      <a:pt x="321947" y="2315605"/>
                    </a:cubicBezTo>
                    <a:cubicBezTo>
                      <a:pt x="271349" y="2250125"/>
                      <a:pt x="223727" y="2169763"/>
                      <a:pt x="217774" y="2160834"/>
                    </a:cubicBezTo>
                    <a:cubicBezTo>
                      <a:pt x="217774" y="2154882"/>
                      <a:pt x="167176" y="2068567"/>
                      <a:pt x="131460" y="1988206"/>
                    </a:cubicBezTo>
                    <a:cubicBezTo>
                      <a:pt x="131460" y="1988206"/>
                      <a:pt x="131460" y="1988206"/>
                      <a:pt x="116578" y="1952489"/>
                    </a:cubicBezTo>
                    <a:cubicBezTo>
                      <a:pt x="116578" y="1952489"/>
                      <a:pt x="116578" y="1952489"/>
                      <a:pt x="274325" y="1759026"/>
                    </a:cubicBezTo>
                    <a:cubicBezTo>
                      <a:pt x="253491" y="1690570"/>
                      <a:pt x="241585" y="1616161"/>
                      <a:pt x="235633" y="1544729"/>
                    </a:cubicBezTo>
                    <a:cubicBezTo>
                      <a:pt x="235633" y="1544729"/>
                      <a:pt x="235633" y="1544729"/>
                      <a:pt x="24311" y="1419722"/>
                    </a:cubicBezTo>
                    <a:cubicBezTo>
                      <a:pt x="24311" y="1419722"/>
                      <a:pt x="24311" y="1419722"/>
                      <a:pt x="27287" y="1375077"/>
                    </a:cubicBezTo>
                    <a:cubicBezTo>
                      <a:pt x="30264" y="1288763"/>
                      <a:pt x="48122" y="1190543"/>
                      <a:pt x="48122" y="1187566"/>
                    </a:cubicBezTo>
                    <a:cubicBezTo>
                      <a:pt x="48122" y="1187566"/>
                      <a:pt x="65980" y="1089346"/>
                      <a:pt x="92767" y="1006008"/>
                    </a:cubicBezTo>
                    <a:cubicBezTo>
                      <a:pt x="92767" y="1006008"/>
                      <a:pt x="92767" y="1006008"/>
                      <a:pt x="104673" y="964339"/>
                    </a:cubicBezTo>
                    <a:cubicBezTo>
                      <a:pt x="104673" y="964339"/>
                      <a:pt x="104673" y="964339"/>
                      <a:pt x="357663" y="916718"/>
                    </a:cubicBezTo>
                    <a:cubicBezTo>
                      <a:pt x="387427" y="860167"/>
                      <a:pt x="423143" y="803616"/>
                      <a:pt x="464812" y="753018"/>
                    </a:cubicBezTo>
                    <a:cubicBezTo>
                      <a:pt x="464812" y="753018"/>
                      <a:pt x="464812" y="753018"/>
                      <a:pt x="372545" y="497051"/>
                    </a:cubicBezTo>
                    <a:cubicBezTo>
                      <a:pt x="372545" y="497051"/>
                      <a:pt x="372545" y="497051"/>
                      <a:pt x="402309" y="467288"/>
                    </a:cubicBezTo>
                    <a:cubicBezTo>
                      <a:pt x="461836" y="404784"/>
                      <a:pt x="536245" y="342281"/>
                      <a:pt x="539221" y="339305"/>
                    </a:cubicBezTo>
                    <a:cubicBezTo>
                      <a:pt x="542197" y="336328"/>
                      <a:pt x="619583" y="270848"/>
                      <a:pt x="693992" y="223227"/>
                    </a:cubicBezTo>
                    <a:cubicBezTo>
                      <a:pt x="693992" y="223227"/>
                      <a:pt x="693992" y="223227"/>
                      <a:pt x="726732" y="199416"/>
                    </a:cubicBezTo>
                    <a:cubicBezTo>
                      <a:pt x="726732" y="199416"/>
                      <a:pt x="726732" y="199416"/>
                      <a:pt x="985675" y="345257"/>
                    </a:cubicBezTo>
                    <a:cubicBezTo>
                      <a:pt x="1033297" y="330376"/>
                      <a:pt x="1080918" y="315494"/>
                      <a:pt x="1125564" y="300612"/>
                    </a:cubicBezTo>
                    <a:cubicBezTo>
                      <a:pt x="1125564" y="300612"/>
                      <a:pt x="1125564" y="300612"/>
                      <a:pt x="1235689" y="17858"/>
                    </a:cubicBezTo>
                    <a:cubicBezTo>
                      <a:pt x="1235689" y="17858"/>
                      <a:pt x="1235689" y="17858"/>
                      <a:pt x="1277358" y="11906"/>
                    </a:cubicBezTo>
                    <a:cubicBezTo>
                      <a:pt x="1360696" y="0"/>
                      <a:pt x="1461892" y="0"/>
                      <a:pt x="1464868" y="0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pt-BR">
                  <a:solidFill>
                    <a:srgbClr val="002060"/>
                  </a:solidFill>
                  <a:latin typeface="Suzano Sans Thin" panose="02010403030508060203" pitchFamily="2" charset="0"/>
                </a:endParaRPr>
              </a:p>
            </p:txBody>
          </p:sp>
          <p:sp>
            <p:nvSpPr>
              <p:cNvPr id="52" name="Freeform 60">
                <a:extLst>
                  <a:ext uri="{FF2B5EF4-FFF2-40B4-BE49-F238E27FC236}">
                    <a16:creationId xmlns:a16="http://schemas.microsoft.com/office/drawing/2014/main" id="{B456A76A-4AED-43A6-AC1C-F4E979209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764" y="1741488"/>
                <a:ext cx="4068761" cy="4125913"/>
              </a:xfrm>
              <a:custGeom>
                <a:avLst/>
                <a:gdLst>
                  <a:gd name="connsiteX0" fmla="*/ 2733075 w 4068763"/>
                  <a:gd name="connsiteY0" fmla="*/ 2836862 h 4125912"/>
                  <a:gd name="connsiteX1" fmla="*/ 3851602 w 4068763"/>
                  <a:gd name="connsiteY1" fmla="*/ 2836862 h 4125912"/>
                  <a:gd name="connsiteX2" fmla="*/ 3860527 w 4068763"/>
                  <a:gd name="connsiteY2" fmla="*/ 2842816 h 4125912"/>
                  <a:gd name="connsiteX3" fmla="*/ 3851602 w 4068763"/>
                  <a:gd name="connsiteY3" fmla="*/ 2890449 h 4125912"/>
                  <a:gd name="connsiteX4" fmla="*/ 4006292 w 4068763"/>
                  <a:gd name="connsiteY4" fmla="*/ 3042277 h 4125912"/>
                  <a:gd name="connsiteX5" fmla="*/ 4059839 w 4068763"/>
                  <a:gd name="connsiteY5" fmla="*/ 3030369 h 4125912"/>
                  <a:gd name="connsiteX6" fmla="*/ 4068763 w 4068763"/>
                  <a:gd name="connsiteY6" fmla="*/ 3039300 h 4125912"/>
                  <a:gd name="connsiteX7" fmla="*/ 4068763 w 4068763"/>
                  <a:gd name="connsiteY7" fmla="*/ 3926452 h 4125912"/>
                  <a:gd name="connsiteX8" fmla="*/ 4059839 w 4068763"/>
                  <a:gd name="connsiteY8" fmla="*/ 3932406 h 4125912"/>
                  <a:gd name="connsiteX9" fmla="*/ 4006292 w 4068763"/>
                  <a:gd name="connsiteY9" fmla="*/ 3923475 h 4125912"/>
                  <a:gd name="connsiteX10" fmla="*/ 3851602 w 4068763"/>
                  <a:gd name="connsiteY10" fmla="*/ 4072326 h 4125912"/>
                  <a:gd name="connsiteX11" fmla="*/ 3857552 w 4068763"/>
                  <a:gd name="connsiteY11" fmla="*/ 4116981 h 4125912"/>
                  <a:gd name="connsiteX12" fmla="*/ 3851602 w 4068763"/>
                  <a:gd name="connsiteY12" fmla="*/ 4125912 h 4125912"/>
                  <a:gd name="connsiteX13" fmla="*/ 2733075 w 4068763"/>
                  <a:gd name="connsiteY13" fmla="*/ 4125912 h 4125912"/>
                  <a:gd name="connsiteX14" fmla="*/ 2730100 w 4068763"/>
                  <a:gd name="connsiteY14" fmla="*/ 4114004 h 4125912"/>
                  <a:gd name="connsiteX15" fmla="*/ 3042455 w 4068763"/>
                  <a:gd name="connsiteY15" fmla="*/ 3482876 h 4125912"/>
                  <a:gd name="connsiteX16" fmla="*/ 2730100 w 4068763"/>
                  <a:gd name="connsiteY16" fmla="*/ 2845793 h 4125912"/>
                  <a:gd name="connsiteX17" fmla="*/ 2733075 w 4068763"/>
                  <a:gd name="connsiteY17" fmla="*/ 2836862 h 4125912"/>
                  <a:gd name="connsiteX18" fmla="*/ 1232160 w 4068763"/>
                  <a:gd name="connsiteY18" fmla="*/ 2836862 h 4125912"/>
                  <a:gd name="connsiteX19" fmla="*/ 2348702 w 4068763"/>
                  <a:gd name="connsiteY19" fmla="*/ 2836862 h 4125912"/>
                  <a:gd name="connsiteX20" fmla="*/ 2354657 w 4068763"/>
                  <a:gd name="connsiteY20" fmla="*/ 2845793 h 4125912"/>
                  <a:gd name="connsiteX21" fmla="*/ 2045003 w 4068763"/>
                  <a:gd name="connsiteY21" fmla="*/ 3482876 h 4125912"/>
                  <a:gd name="connsiteX22" fmla="*/ 2354657 w 4068763"/>
                  <a:gd name="connsiteY22" fmla="*/ 4114004 h 4125912"/>
                  <a:gd name="connsiteX23" fmla="*/ 2348702 w 4068763"/>
                  <a:gd name="connsiteY23" fmla="*/ 4125912 h 4125912"/>
                  <a:gd name="connsiteX24" fmla="*/ 1235138 w 4068763"/>
                  <a:gd name="connsiteY24" fmla="*/ 4125912 h 4125912"/>
                  <a:gd name="connsiteX25" fmla="*/ 1229183 w 4068763"/>
                  <a:gd name="connsiteY25" fmla="*/ 4116981 h 4125912"/>
                  <a:gd name="connsiteX26" fmla="*/ 1235138 w 4068763"/>
                  <a:gd name="connsiteY26" fmla="*/ 4072326 h 4125912"/>
                  <a:gd name="connsiteX27" fmla="*/ 1080311 w 4068763"/>
                  <a:gd name="connsiteY27" fmla="*/ 3923475 h 4125912"/>
                  <a:gd name="connsiteX28" fmla="*/ 1029694 w 4068763"/>
                  <a:gd name="connsiteY28" fmla="*/ 3929429 h 4125912"/>
                  <a:gd name="connsiteX29" fmla="*/ 1020762 w 4068763"/>
                  <a:gd name="connsiteY29" fmla="*/ 3923475 h 4125912"/>
                  <a:gd name="connsiteX30" fmla="*/ 1020762 w 4068763"/>
                  <a:gd name="connsiteY30" fmla="*/ 3039300 h 4125912"/>
                  <a:gd name="connsiteX31" fmla="*/ 1029694 w 4068763"/>
                  <a:gd name="connsiteY31" fmla="*/ 3033346 h 4125912"/>
                  <a:gd name="connsiteX32" fmla="*/ 1080311 w 4068763"/>
                  <a:gd name="connsiteY32" fmla="*/ 3042277 h 4125912"/>
                  <a:gd name="connsiteX33" fmla="*/ 1235138 w 4068763"/>
                  <a:gd name="connsiteY33" fmla="*/ 2890449 h 4125912"/>
                  <a:gd name="connsiteX34" fmla="*/ 1229183 w 4068763"/>
                  <a:gd name="connsiteY34" fmla="*/ 2842816 h 4125912"/>
                  <a:gd name="connsiteX35" fmla="*/ 1232160 w 4068763"/>
                  <a:gd name="connsiteY35" fmla="*/ 2836862 h 4125912"/>
                  <a:gd name="connsiteX36" fmla="*/ 415132 w 4068763"/>
                  <a:gd name="connsiteY36" fmla="*/ 0 h 4125912"/>
                  <a:gd name="connsiteX37" fmla="*/ 830264 w 4068763"/>
                  <a:gd name="connsiteY37" fmla="*/ 411957 h 4125912"/>
                  <a:gd name="connsiteX38" fmla="*/ 415132 w 4068763"/>
                  <a:gd name="connsiteY38" fmla="*/ 823914 h 4125912"/>
                  <a:gd name="connsiteX39" fmla="*/ 0 w 4068763"/>
                  <a:gd name="connsiteY39" fmla="*/ 411957 h 4125912"/>
                  <a:gd name="connsiteX40" fmla="*/ 415132 w 4068763"/>
                  <a:gd name="connsiteY40" fmla="*/ 0 h 4125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68763" h="4125912">
                    <a:moveTo>
                      <a:pt x="2733075" y="2836862"/>
                    </a:moveTo>
                    <a:cubicBezTo>
                      <a:pt x="2733075" y="2836862"/>
                      <a:pt x="2733075" y="2836862"/>
                      <a:pt x="3851602" y="2836862"/>
                    </a:cubicBezTo>
                    <a:cubicBezTo>
                      <a:pt x="3857552" y="2836862"/>
                      <a:pt x="3860527" y="2839839"/>
                      <a:pt x="3860527" y="2842816"/>
                    </a:cubicBezTo>
                    <a:cubicBezTo>
                      <a:pt x="3854577" y="2857701"/>
                      <a:pt x="3851602" y="2875564"/>
                      <a:pt x="3851602" y="2890449"/>
                    </a:cubicBezTo>
                    <a:cubicBezTo>
                      <a:pt x="3851602" y="2973805"/>
                      <a:pt x="3920023" y="3042277"/>
                      <a:pt x="4006292" y="3042277"/>
                    </a:cubicBezTo>
                    <a:cubicBezTo>
                      <a:pt x="4024141" y="3042277"/>
                      <a:pt x="4044965" y="3039300"/>
                      <a:pt x="4059839" y="3030369"/>
                    </a:cubicBezTo>
                    <a:cubicBezTo>
                      <a:pt x="4065788" y="3030369"/>
                      <a:pt x="4068763" y="3033346"/>
                      <a:pt x="4068763" y="3039300"/>
                    </a:cubicBezTo>
                    <a:cubicBezTo>
                      <a:pt x="4068763" y="3039300"/>
                      <a:pt x="4068763" y="3039300"/>
                      <a:pt x="4068763" y="3926452"/>
                    </a:cubicBezTo>
                    <a:cubicBezTo>
                      <a:pt x="4068763" y="3929429"/>
                      <a:pt x="4065788" y="3932406"/>
                      <a:pt x="4059839" y="3932406"/>
                    </a:cubicBezTo>
                    <a:cubicBezTo>
                      <a:pt x="4044965" y="3926452"/>
                      <a:pt x="4024141" y="3923475"/>
                      <a:pt x="4006292" y="3923475"/>
                    </a:cubicBezTo>
                    <a:cubicBezTo>
                      <a:pt x="3920023" y="3923475"/>
                      <a:pt x="3851602" y="3991946"/>
                      <a:pt x="3851602" y="4072326"/>
                    </a:cubicBezTo>
                    <a:cubicBezTo>
                      <a:pt x="3851602" y="4087211"/>
                      <a:pt x="3851602" y="4102096"/>
                      <a:pt x="3857552" y="4116981"/>
                    </a:cubicBezTo>
                    <a:cubicBezTo>
                      <a:pt x="3860527" y="4119958"/>
                      <a:pt x="3857552" y="4125912"/>
                      <a:pt x="3851602" y="4125912"/>
                    </a:cubicBezTo>
                    <a:cubicBezTo>
                      <a:pt x="3851602" y="4125912"/>
                      <a:pt x="3851602" y="4125912"/>
                      <a:pt x="2733075" y="4125912"/>
                    </a:cubicBezTo>
                    <a:cubicBezTo>
                      <a:pt x="2727125" y="4125912"/>
                      <a:pt x="2724150" y="4116981"/>
                      <a:pt x="2730100" y="4114004"/>
                    </a:cubicBezTo>
                    <a:cubicBezTo>
                      <a:pt x="2890739" y="4003854"/>
                      <a:pt x="3042455" y="3759739"/>
                      <a:pt x="3042455" y="3482876"/>
                    </a:cubicBezTo>
                    <a:cubicBezTo>
                      <a:pt x="3042455" y="3200059"/>
                      <a:pt x="2890739" y="2955943"/>
                      <a:pt x="2730100" y="2845793"/>
                    </a:cubicBezTo>
                    <a:cubicBezTo>
                      <a:pt x="2724150" y="2842816"/>
                      <a:pt x="2727125" y="2836862"/>
                      <a:pt x="2733075" y="2836862"/>
                    </a:cubicBezTo>
                    <a:close/>
                    <a:moveTo>
                      <a:pt x="1232160" y="2836862"/>
                    </a:moveTo>
                    <a:cubicBezTo>
                      <a:pt x="1232160" y="2836862"/>
                      <a:pt x="1232160" y="2836862"/>
                      <a:pt x="2348702" y="2836862"/>
                    </a:cubicBezTo>
                    <a:cubicBezTo>
                      <a:pt x="2357634" y="2836862"/>
                      <a:pt x="2360612" y="2842816"/>
                      <a:pt x="2354657" y="2845793"/>
                    </a:cubicBezTo>
                    <a:cubicBezTo>
                      <a:pt x="2196852" y="2955943"/>
                      <a:pt x="2045003" y="3200059"/>
                      <a:pt x="2045003" y="3482876"/>
                    </a:cubicBezTo>
                    <a:cubicBezTo>
                      <a:pt x="2045003" y="3759739"/>
                      <a:pt x="2196852" y="4003854"/>
                      <a:pt x="2354657" y="4114004"/>
                    </a:cubicBezTo>
                    <a:cubicBezTo>
                      <a:pt x="2360612" y="4116981"/>
                      <a:pt x="2357634" y="4125912"/>
                      <a:pt x="2348702" y="4125912"/>
                    </a:cubicBezTo>
                    <a:cubicBezTo>
                      <a:pt x="2348702" y="4125912"/>
                      <a:pt x="2348702" y="4125912"/>
                      <a:pt x="1235138" y="4125912"/>
                    </a:cubicBezTo>
                    <a:cubicBezTo>
                      <a:pt x="1232160" y="4125912"/>
                      <a:pt x="1229183" y="4119958"/>
                      <a:pt x="1229183" y="4116981"/>
                    </a:cubicBezTo>
                    <a:cubicBezTo>
                      <a:pt x="1232160" y="4102096"/>
                      <a:pt x="1235138" y="4087211"/>
                      <a:pt x="1235138" y="4072326"/>
                    </a:cubicBezTo>
                    <a:cubicBezTo>
                      <a:pt x="1235138" y="3991946"/>
                      <a:pt x="1166657" y="3923475"/>
                      <a:pt x="1080311" y="3923475"/>
                    </a:cubicBezTo>
                    <a:cubicBezTo>
                      <a:pt x="1062446" y="3923475"/>
                      <a:pt x="1044581" y="3926452"/>
                      <a:pt x="1029694" y="3929429"/>
                    </a:cubicBezTo>
                    <a:cubicBezTo>
                      <a:pt x="1026717" y="3932406"/>
                      <a:pt x="1020762" y="3929429"/>
                      <a:pt x="1020762" y="3923475"/>
                    </a:cubicBezTo>
                    <a:cubicBezTo>
                      <a:pt x="1020762" y="3923475"/>
                      <a:pt x="1020762" y="3923475"/>
                      <a:pt x="1020762" y="3039300"/>
                    </a:cubicBezTo>
                    <a:cubicBezTo>
                      <a:pt x="1020762" y="3033346"/>
                      <a:pt x="1026717" y="3030369"/>
                      <a:pt x="1029694" y="3033346"/>
                    </a:cubicBezTo>
                    <a:cubicBezTo>
                      <a:pt x="1044581" y="3039300"/>
                      <a:pt x="1062446" y="3042277"/>
                      <a:pt x="1080311" y="3042277"/>
                    </a:cubicBezTo>
                    <a:cubicBezTo>
                      <a:pt x="1166657" y="3042277"/>
                      <a:pt x="1235138" y="2973805"/>
                      <a:pt x="1235138" y="2890449"/>
                    </a:cubicBezTo>
                    <a:cubicBezTo>
                      <a:pt x="1235138" y="2875564"/>
                      <a:pt x="1232160" y="2857701"/>
                      <a:pt x="1229183" y="2842816"/>
                    </a:cubicBezTo>
                    <a:cubicBezTo>
                      <a:pt x="1226205" y="2839839"/>
                      <a:pt x="1229183" y="2836862"/>
                      <a:pt x="1232160" y="2836862"/>
                    </a:cubicBezTo>
                    <a:close/>
                    <a:moveTo>
                      <a:pt x="415132" y="0"/>
                    </a:moveTo>
                    <a:cubicBezTo>
                      <a:pt x="644403" y="0"/>
                      <a:pt x="830264" y="184439"/>
                      <a:pt x="830264" y="411957"/>
                    </a:cubicBezTo>
                    <a:cubicBezTo>
                      <a:pt x="830264" y="639475"/>
                      <a:pt x="644403" y="823914"/>
                      <a:pt x="415132" y="823914"/>
                    </a:cubicBezTo>
                    <a:cubicBezTo>
                      <a:pt x="185861" y="823914"/>
                      <a:pt x="0" y="639475"/>
                      <a:pt x="0" y="411957"/>
                    </a:cubicBezTo>
                    <a:cubicBezTo>
                      <a:pt x="0" y="184439"/>
                      <a:pt x="185861" y="0"/>
                      <a:pt x="41513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pt-BR">
                  <a:solidFill>
                    <a:srgbClr val="002060"/>
                  </a:solidFill>
                  <a:latin typeface="Suzano Sans Thin" panose="02010403030508060203" pitchFamily="2" charset="0"/>
                </a:endParaRPr>
              </a:p>
            </p:txBody>
          </p:sp>
        </p:grpSp>
      </p:grpSp>
      <p:grpSp>
        <p:nvGrpSpPr>
          <p:cNvPr id="53" name="Group 63">
            <a:extLst>
              <a:ext uri="{FF2B5EF4-FFF2-40B4-BE49-F238E27FC236}">
                <a16:creationId xmlns:a16="http://schemas.microsoft.com/office/drawing/2014/main" id="{CB694A88-9656-47D0-9E66-DBDC8F0409D5}"/>
              </a:ext>
            </a:extLst>
          </p:cNvPr>
          <p:cNvGrpSpPr/>
          <p:nvPr/>
        </p:nvGrpSpPr>
        <p:grpSpPr>
          <a:xfrm>
            <a:off x="4670296" y="2863121"/>
            <a:ext cx="490828" cy="618112"/>
            <a:chOff x="5664200" y="2882899"/>
            <a:chExt cx="863600" cy="1092202"/>
          </a:xfrm>
        </p:grpSpPr>
        <p:sp>
          <p:nvSpPr>
            <p:cNvPr id="54" name="Freeform 64">
              <a:extLst>
                <a:ext uri="{FF2B5EF4-FFF2-40B4-BE49-F238E27FC236}">
                  <a16:creationId xmlns:a16="http://schemas.microsoft.com/office/drawing/2014/main" id="{EA3AB866-960A-4E1F-A231-4EAF2E626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4200" y="2882899"/>
              <a:ext cx="863600" cy="860426"/>
            </a:xfrm>
            <a:custGeom>
              <a:avLst/>
              <a:gdLst>
                <a:gd name="connsiteX0" fmla="*/ 430366 w 863600"/>
                <a:gd name="connsiteY0" fmla="*/ 57151 h 860426"/>
                <a:gd name="connsiteX1" fmla="*/ 446088 w 863600"/>
                <a:gd name="connsiteY1" fmla="*/ 72880 h 860426"/>
                <a:gd name="connsiteX2" fmla="*/ 430366 w 863600"/>
                <a:gd name="connsiteY2" fmla="*/ 88609 h 860426"/>
                <a:gd name="connsiteX3" fmla="*/ 90184 w 863600"/>
                <a:gd name="connsiteY3" fmla="*/ 429645 h 860426"/>
                <a:gd name="connsiteX4" fmla="*/ 74461 w 863600"/>
                <a:gd name="connsiteY4" fmla="*/ 446089 h 860426"/>
                <a:gd name="connsiteX5" fmla="*/ 58738 w 863600"/>
                <a:gd name="connsiteY5" fmla="*/ 429645 h 860426"/>
                <a:gd name="connsiteX6" fmla="*/ 430366 w 863600"/>
                <a:gd name="connsiteY6" fmla="*/ 57151 h 860426"/>
                <a:gd name="connsiteX7" fmla="*/ 431800 w 863600"/>
                <a:gd name="connsiteY7" fmla="*/ 30163 h 860426"/>
                <a:gd name="connsiteX8" fmla="*/ 31750 w 863600"/>
                <a:gd name="connsiteY8" fmla="*/ 430928 h 860426"/>
                <a:gd name="connsiteX9" fmla="*/ 31750 w 863600"/>
                <a:gd name="connsiteY9" fmla="*/ 440214 h 860426"/>
                <a:gd name="connsiteX10" fmla="*/ 31750 w 863600"/>
                <a:gd name="connsiteY10" fmla="*/ 440929 h 860426"/>
                <a:gd name="connsiteX11" fmla="*/ 31750 w 863600"/>
                <a:gd name="connsiteY11" fmla="*/ 443072 h 860426"/>
                <a:gd name="connsiteX12" fmla="*/ 31750 w 863600"/>
                <a:gd name="connsiteY12" fmla="*/ 443786 h 860426"/>
                <a:gd name="connsiteX13" fmla="*/ 31750 w 863600"/>
                <a:gd name="connsiteY13" fmla="*/ 448787 h 860426"/>
                <a:gd name="connsiteX14" fmla="*/ 31750 w 863600"/>
                <a:gd name="connsiteY14" fmla="*/ 450216 h 860426"/>
                <a:gd name="connsiteX15" fmla="*/ 31750 w 863600"/>
                <a:gd name="connsiteY15" fmla="*/ 452359 h 860426"/>
                <a:gd name="connsiteX16" fmla="*/ 32463 w 863600"/>
                <a:gd name="connsiteY16" fmla="*/ 453788 h 860426"/>
                <a:gd name="connsiteX17" fmla="*/ 32463 w 863600"/>
                <a:gd name="connsiteY17" fmla="*/ 458788 h 860426"/>
                <a:gd name="connsiteX18" fmla="*/ 32463 w 863600"/>
                <a:gd name="connsiteY18" fmla="*/ 459503 h 860426"/>
                <a:gd name="connsiteX19" fmla="*/ 32463 w 863600"/>
                <a:gd name="connsiteY19" fmla="*/ 461646 h 860426"/>
                <a:gd name="connsiteX20" fmla="*/ 33176 w 863600"/>
                <a:gd name="connsiteY20" fmla="*/ 463789 h 860426"/>
                <a:gd name="connsiteX21" fmla="*/ 33176 w 863600"/>
                <a:gd name="connsiteY21" fmla="*/ 469504 h 860426"/>
                <a:gd name="connsiteX22" fmla="*/ 33176 w 863600"/>
                <a:gd name="connsiteY22" fmla="*/ 470933 h 860426"/>
                <a:gd name="connsiteX23" fmla="*/ 33890 w 863600"/>
                <a:gd name="connsiteY23" fmla="*/ 471647 h 860426"/>
                <a:gd name="connsiteX24" fmla="*/ 33890 w 863600"/>
                <a:gd name="connsiteY24" fmla="*/ 473790 h 860426"/>
                <a:gd name="connsiteX25" fmla="*/ 34603 w 863600"/>
                <a:gd name="connsiteY25" fmla="*/ 479505 h 860426"/>
                <a:gd name="connsiteX26" fmla="*/ 34603 w 863600"/>
                <a:gd name="connsiteY26" fmla="*/ 480219 h 860426"/>
                <a:gd name="connsiteX27" fmla="*/ 34603 w 863600"/>
                <a:gd name="connsiteY27" fmla="*/ 483077 h 860426"/>
                <a:gd name="connsiteX28" fmla="*/ 35316 w 863600"/>
                <a:gd name="connsiteY28" fmla="*/ 483791 h 860426"/>
                <a:gd name="connsiteX29" fmla="*/ 35316 w 863600"/>
                <a:gd name="connsiteY29" fmla="*/ 485934 h 860426"/>
                <a:gd name="connsiteX30" fmla="*/ 36029 w 863600"/>
                <a:gd name="connsiteY30" fmla="*/ 488792 h 860426"/>
                <a:gd name="connsiteX31" fmla="*/ 36029 w 863600"/>
                <a:gd name="connsiteY31" fmla="*/ 489506 h 860426"/>
                <a:gd name="connsiteX32" fmla="*/ 36029 w 863600"/>
                <a:gd name="connsiteY32" fmla="*/ 492364 h 860426"/>
                <a:gd name="connsiteX33" fmla="*/ 36742 w 863600"/>
                <a:gd name="connsiteY33" fmla="*/ 493793 h 860426"/>
                <a:gd name="connsiteX34" fmla="*/ 37455 w 863600"/>
                <a:gd name="connsiteY34" fmla="*/ 498079 h 860426"/>
                <a:gd name="connsiteX35" fmla="*/ 37455 w 863600"/>
                <a:gd name="connsiteY35" fmla="*/ 498793 h 860426"/>
                <a:gd name="connsiteX36" fmla="*/ 38168 w 863600"/>
                <a:gd name="connsiteY36" fmla="*/ 501651 h 860426"/>
                <a:gd name="connsiteX37" fmla="*/ 38168 w 863600"/>
                <a:gd name="connsiteY37" fmla="*/ 503079 h 860426"/>
                <a:gd name="connsiteX38" fmla="*/ 38881 w 863600"/>
                <a:gd name="connsiteY38" fmla="*/ 508080 h 860426"/>
                <a:gd name="connsiteX39" fmla="*/ 39594 w 863600"/>
                <a:gd name="connsiteY39" fmla="*/ 510938 h 860426"/>
                <a:gd name="connsiteX40" fmla="*/ 39594 w 863600"/>
                <a:gd name="connsiteY40" fmla="*/ 512366 h 860426"/>
                <a:gd name="connsiteX41" fmla="*/ 40307 w 863600"/>
                <a:gd name="connsiteY41" fmla="*/ 512366 h 860426"/>
                <a:gd name="connsiteX42" fmla="*/ 41021 w 863600"/>
                <a:gd name="connsiteY42" fmla="*/ 517367 h 860426"/>
                <a:gd name="connsiteX43" fmla="*/ 41734 w 863600"/>
                <a:gd name="connsiteY43" fmla="*/ 519510 h 860426"/>
                <a:gd name="connsiteX44" fmla="*/ 41734 w 863600"/>
                <a:gd name="connsiteY44" fmla="*/ 522368 h 860426"/>
                <a:gd name="connsiteX45" fmla="*/ 42447 w 863600"/>
                <a:gd name="connsiteY45" fmla="*/ 522368 h 860426"/>
                <a:gd name="connsiteX46" fmla="*/ 43160 w 863600"/>
                <a:gd name="connsiteY46" fmla="*/ 525939 h 860426"/>
                <a:gd name="connsiteX47" fmla="*/ 43873 w 863600"/>
                <a:gd name="connsiteY47" fmla="*/ 528797 h 860426"/>
                <a:gd name="connsiteX48" fmla="*/ 44586 w 863600"/>
                <a:gd name="connsiteY48" fmla="*/ 531654 h 860426"/>
                <a:gd name="connsiteX49" fmla="*/ 45299 w 863600"/>
                <a:gd name="connsiteY49" fmla="*/ 535226 h 860426"/>
                <a:gd name="connsiteX50" fmla="*/ 46012 w 863600"/>
                <a:gd name="connsiteY50" fmla="*/ 538084 h 860426"/>
                <a:gd name="connsiteX51" fmla="*/ 46725 w 863600"/>
                <a:gd name="connsiteY51" fmla="*/ 540227 h 860426"/>
                <a:gd name="connsiteX52" fmla="*/ 46725 w 863600"/>
                <a:gd name="connsiteY52" fmla="*/ 540941 h 860426"/>
                <a:gd name="connsiteX53" fmla="*/ 47438 w 863600"/>
                <a:gd name="connsiteY53" fmla="*/ 542370 h 860426"/>
                <a:gd name="connsiteX54" fmla="*/ 49578 w 863600"/>
                <a:gd name="connsiteY54" fmla="*/ 548799 h 860426"/>
                <a:gd name="connsiteX55" fmla="*/ 50291 w 863600"/>
                <a:gd name="connsiteY55" fmla="*/ 550943 h 860426"/>
                <a:gd name="connsiteX56" fmla="*/ 52430 w 863600"/>
                <a:gd name="connsiteY56" fmla="*/ 557372 h 860426"/>
                <a:gd name="connsiteX57" fmla="*/ 52430 w 863600"/>
                <a:gd name="connsiteY57" fmla="*/ 558086 h 860426"/>
                <a:gd name="connsiteX58" fmla="*/ 52430 w 863600"/>
                <a:gd name="connsiteY58" fmla="*/ 559515 h 860426"/>
                <a:gd name="connsiteX59" fmla="*/ 53143 w 863600"/>
                <a:gd name="connsiteY59" fmla="*/ 560944 h 860426"/>
                <a:gd name="connsiteX60" fmla="*/ 55283 w 863600"/>
                <a:gd name="connsiteY60" fmla="*/ 565944 h 860426"/>
                <a:gd name="connsiteX61" fmla="*/ 55283 w 863600"/>
                <a:gd name="connsiteY61" fmla="*/ 566659 h 860426"/>
                <a:gd name="connsiteX62" fmla="*/ 55996 w 863600"/>
                <a:gd name="connsiteY62" fmla="*/ 569516 h 860426"/>
                <a:gd name="connsiteX63" fmla="*/ 58135 w 863600"/>
                <a:gd name="connsiteY63" fmla="*/ 573088 h 860426"/>
                <a:gd name="connsiteX64" fmla="*/ 58848 w 863600"/>
                <a:gd name="connsiteY64" fmla="*/ 574517 h 860426"/>
                <a:gd name="connsiteX65" fmla="*/ 58848 w 863600"/>
                <a:gd name="connsiteY65" fmla="*/ 575231 h 860426"/>
                <a:gd name="connsiteX66" fmla="*/ 59561 w 863600"/>
                <a:gd name="connsiteY66" fmla="*/ 576660 h 860426"/>
                <a:gd name="connsiteX67" fmla="*/ 60987 w 863600"/>
                <a:gd name="connsiteY67" fmla="*/ 581661 h 860426"/>
                <a:gd name="connsiteX68" fmla="*/ 62414 w 863600"/>
                <a:gd name="connsiteY68" fmla="*/ 583804 h 860426"/>
                <a:gd name="connsiteX69" fmla="*/ 63127 w 863600"/>
                <a:gd name="connsiteY69" fmla="*/ 585233 h 860426"/>
                <a:gd name="connsiteX70" fmla="*/ 63840 w 863600"/>
                <a:gd name="connsiteY70" fmla="*/ 587376 h 860426"/>
                <a:gd name="connsiteX71" fmla="*/ 64553 w 863600"/>
                <a:gd name="connsiteY71" fmla="*/ 590233 h 860426"/>
                <a:gd name="connsiteX72" fmla="*/ 65979 w 863600"/>
                <a:gd name="connsiteY72" fmla="*/ 592376 h 860426"/>
                <a:gd name="connsiteX73" fmla="*/ 65979 w 863600"/>
                <a:gd name="connsiteY73" fmla="*/ 593091 h 860426"/>
                <a:gd name="connsiteX74" fmla="*/ 68118 w 863600"/>
                <a:gd name="connsiteY74" fmla="*/ 596663 h 860426"/>
                <a:gd name="connsiteX75" fmla="*/ 68832 w 863600"/>
                <a:gd name="connsiteY75" fmla="*/ 598091 h 860426"/>
                <a:gd name="connsiteX76" fmla="*/ 69545 w 863600"/>
                <a:gd name="connsiteY76" fmla="*/ 600234 h 860426"/>
                <a:gd name="connsiteX77" fmla="*/ 70258 w 863600"/>
                <a:gd name="connsiteY77" fmla="*/ 601663 h 860426"/>
                <a:gd name="connsiteX78" fmla="*/ 71684 w 863600"/>
                <a:gd name="connsiteY78" fmla="*/ 604521 h 860426"/>
                <a:gd name="connsiteX79" fmla="*/ 72397 w 863600"/>
                <a:gd name="connsiteY79" fmla="*/ 606664 h 860426"/>
                <a:gd name="connsiteX80" fmla="*/ 73823 w 863600"/>
                <a:gd name="connsiteY80" fmla="*/ 608807 h 860426"/>
                <a:gd name="connsiteX81" fmla="*/ 74536 w 863600"/>
                <a:gd name="connsiteY81" fmla="*/ 610236 h 860426"/>
                <a:gd name="connsiteX82" fmla="*/ 75249 w 863600"/>
                <a:gd name="connsiteY82" fmla="*/ 612379 h 860426"/>
                <a:gd name="connsiteX83" fmla="*/ 76676 w 863600"/>
                <a:gd name="connsiteY83" fmla="*/ 615236 h 860426"/>
                <a:gd name="connsiteX84" fmla="*/ 78102 w 863600"/>
                <a:gd name="connsiteY84" fmla="*/ 616665 h 860426"/>
                <a:gd name="connsiteX85" fmla="*/ 79528 w 863600"/>
                <a:gd name="connsiteY85" fmla="*/ 620237 h 860426"/>
                <a:gd name="connsiteX86" fmla="*/ 80954 w 863600"/>
                <a:gd name="connsiteY86" fmla="*/ 623094 h 860426"/>
                <a:gd name="connsiteX87" fmla="*/ 81667 w 863600"/>
                <a:gd name="connsiteY87" fmla="*/ 623094 h 860426"/>
                <a:gd name="connsiteX88" fmla="*/ 81667 w 863600"/>
                <a:gd name="connsiteY88" fmla="*/ 624523 h 860426"/>
                <a:gd name="connsiteX89" fmla="*/ 83807 w 863600"/>
                <a:gd name="connsiteY89" fmla="*/ 627381 h 860426"/>
                <a:gd name="connsiteX90" fmla="*/ 85946 w 863600"/>
                <a:gd name="connsiteY90" fmla="*/ 630953 h 860426"/>
                <a:gd name="connsiteX91" fmla="*/ 85946 w 863600"/>
                <a:gd name="connsiteY91" fmla="*/ 631667 h 860426"/>
                <a:gd name="connsiteX92" fmla="*/ 88085 w 863600"/>
                <a:gd name="connsiteY92" fmla="*/ 635239 h 860426"/>
                <a:gd name="connsiteX93" fmla="*/ 90225 w 863600"/>
                <a:gd name="connsiteY93" fmla="*/ 638811 h 860426"/>
                <a:gd name="connsiteX94" fmla="*/ 91651 w 863600"/>
                <a:gd name="connsiteY94" fmla="*/ 640239 h 860426"/>
                <a:gd name="connsiteX95" fmla="*/ 93077 w 863600"/>
                <a:gd name="connsiteY95" fmla="*/ 643811 h 860426"/>
                <a:gd name="connsiteX96" fmla="*/ 95216 w 863600"/>
                <a:gd name="connsiteY96" fmla="*/ 645954 h 860426"/>
                <a:gd name="connsiteX97" fmla="*/ 96642 w 863600"/>
                <a:gd name="connsiteY97" fmla="*/ 648812 h 860426"/>
                <a:gd name="connsiteX98" fmla="*/ 99495 w 863600"/>
                <a:gd name="connsiteY98" fmla="*/ 653098 h 860426"/>
                <a:gd name="connsiteX99" fmla="*/ 101634 w 863600"/>
                <a:gd name="connsiteY99" fmla="*/ 655956 h 860426"/>
                <a:gd name="connsiteX100" fmla="*/ 102347 w 863600"/>
                <a:gd name="connsiteY100" fmla="*/ 657384 h 860426"/>
                <a:gd name="connsiteX101" fmla="*/ 104487 w 863600"/>
                <a:gd name="connsiteY101" fmla="*/ 660242 h 860426"/>
                <a:gd name="connsiteX102" fmla="*/ 106626 w 863600"/>
                <a:gd name="connsiteY102" fmla="*/ 663814 h 860426"/>
                <a:gd name="connsiteX103" fmla="*/ 108052 w 863600"/>
                <a:gd name="connsiteY103" fmla="*/ 665243 h 860426"/>
                <a:gd name="connsiteX104" fmla="*/ 109478 w 863600"/>
                <a:gd name="connsiteY104" fmla="*/ 667386 h 860426"/>
                <a:gd name="connsiteX105" fmla="*/ 112331 w 863600"/>
                <a:gd name="connsiteY105" fmla="*/ 670243 h 860426"/>
                <a:gd name="connsiteX106" fmla="*/ 113757 w 863600"/>
                <a:gd name="connsiteY106" fmla="*/ 673101 h 860426"/>
                <a:gd name="connsiteX107" fmla="*/ 114470 w 863600"/>
                <a:gd name="connsiteY107" fmla="*/ 673101 h 860426"/>
                <a:gd name="connsiteX108" fmla="*/ 115183 w 863600"/>
                <a:gd name="connsiteY108" fmla="*/ 674529 h 860426"/>
                <a:gd name="connsiteX109" fmla="*/ 118749 w 863600"/>
                <a:gd name="connsiteY109" fmla="*/ 678816 h 860426"/>
                <a:gd name="connsiteX110" fmla="*/ 120175 w 863600"/>
                <a:gd name="connsiteY110" fmla="*/ 680959 h 860426"/>
                <a:gd name="connsiteX111" fmla="*/ 122314 w 863600"/>
                <a:gd name="connsiteY111" fmla="*/ 683816 h 860426"/>
                <a:gd name="connsiteX112" fmla="*/ 125167 w 863600"/>
                <a:gd name="connsiteY112" fmla="*/ 686674 h 860426"/>
                <a:gd name="connsiteX113" fmla="*/ 126593 w 863600"/>
                <a:gd name="connsiteY113" fmla="*/ 688817 h 860426"/>
                <a:gd name="connsiteX114" fmla="*/ 128019 w 863600"/>
                <a:gd name="connsiteY114" fmla="*/ 690246 h 860426"/>
                <a:gd name="connsiteX115" fmla="*/ 130871 w 863600"/>
                <a:gd name="connsiteY115" fmla="*/ 693103 h 860426"/>
                <a:gd name="connsiteX116" fmla="*/ 133724 w 863600"/>
                <a:gd name="connsiteY116" fmla="*/ 696675 h 860426"/>
                <a:gd name="connsiteX117" fmla="*/ 136576 w 863600"/>
                <a:gd name="connsiteY117" fmla="*/ 699533 h 860426"/>
                <a:gd name="connsiteX118" fmla="*/ 140142 w 863600"/>
                <a:gd name="connsiteY118" fmla="*/ 703104 h 860426"/>
                <a:gd name="connsiteX119" fmla="*/ 145133 w 863600"/>
                <a:gd name="connsiteY119" fmla="*/ 708105 h 860426"/>
                <a:gd name="connsiteX120" fmla="*/ 147986 w 863600"/>
                <a:gd name="connsiteY120" fmla="*/ 711677 h 860426"/>
                <a:gd name="connsiteX121" fmla="*/ 151551 w 863600"/>
                <a:gd name="connsiteY121" fmla="*/ 714534 h 860426"/>
                <a:gd name="connsiteX122" fmla="*/ 154404 w 863600"/>
                <a:gd name="connsiteY122" fmla="*/ 717392 h 860426"/>
                <a:gd name="connsiteX123" fmla="*/ 157256 w 863600"/>
                <a:gd name="connsiteY123" fmla="*/ 720964 h 860426"/>
                <a:gd name="connsiteX124" fmla="*/ 160822 w 863600"/>
                <a:gd name="connsiteY124" fmla="*/ 723821 h 860426"/>
                <a:gd name="connsiteX125" fmla="*/ 163674 w 863600"/>
                <a:gd name="connsiteY125" fmla="*/ 726679 h 860426"/>
                <a:gd name="connsiteX126" fmla="*/ 167240 w 863600"/>
                <a:gd name="connsiteY126" fmla="*/ 729536 h 860426"/>
                <a:gd name="connsiteX127" fmla="*/ 173657 w 863600"/>
                <a:gd name="connsiteY127" fmla="*/ 735251 h 860426"/>
                <a:gd name="connsiteX128" fmla="*/ 176510 w 863600"/>
                <a:gd name="connsiteY128" fmla="*/ 737394 h 860426"/>
                <a:gd name="connsiteX129" fmla="*/ 180075 w 863600"/>
                <a:gd name="connsiteY129" fmla="*/ 740252 h 860426"/>
                <a:gd name="connsiteX130" fmla="*/ 182928 w 863600"/>
                <a:gd name="connsiteY130" fmla="*/ 743109 h 860426"/>
                <a:gd name="connsiteX131" fmla="*/ 186493 w 863600"/>
                <a:gd name="connsiteY131" fmla="*/ 745967 h 860426"/>
                <a:gd name="connsiteX132" fmla="*/ 190059 w 863600"/>
                <a:gd name="connsiteY132" fmla="*/ 748110 h 860426"/>
                <a:gd name="connsiteX133" fmla="*/ 193624 w 863600"/>
                <a:gd name="connsiteY133" fmla="*/ 750968 h 860426"/>
                <a:gd name="connsiteX134" fmla="*/ 196477 w 863600"/>
                <a:gd name="connsiteY134" fmla="*/ 753111 h 860426"/>
                <a:gd name="connsiteX135" fmla="*/ 204321 w 863600"/>
                <a:gd name="connsiteY135" fmla="*/ 758826 h 860426"/>
                <a:gd name="connsiteX136" fmla="*/ 207173 w 863600"/>
                <a:gd name="connsiteY136" fmla="*/ 760254 h 860426"/>
                <a:gd name="connsiteX137" fmla="*/ 211452 w 863600"/>
                <a:gd name="connsiteY137" fmla="*/ 763112 h 860426"/>
                <a:gd name="connsiteX138" fmla="*/ 214304 w 863600"/>
                <a:gd name="connsiteY138" fmla="*/ 765255 h 860426"/>
                <a:gd name="connsiteX139" fmla="*/ 218583 w 863600"/>
                <a:gd name="connsiteY139" fmla="*/ 768113 h 860426"/>
                <a:gd name="connsiteX140" fmla="*/ 221435 w 863600"/>
                <a:gd name="connsiteY140" fmla="*/ 770256 h 860426"/>
                <a:gd name="connsiteX141" fmla="*/ 225714 w 863600"/>
                <a:gd name="connsiteY141" fmla="*/ 772399 h 860426"/>
                <a:gd name="connsiteX142" fmla="*/ 226427 w 863600"/>
                <a:gd name="connsiteY142" fmla="*/ 773113 h 860426"/>
                <a:gd name="connsiteX143" fmla="*/ 237124 w 863600"/>
                <a:gd name="connsiteY143" fmla="*/ 779543 h 860426"/>
                <a:gd name="connsiteX144" fmla="*/ 239976 w 863600"/>
                <a:gd name="connsiteY144" fmla="*/ 780971 h 860426"/>
                <a:gd name="connsiteX145" fmla="*/ 244255 w 863600"/>
                <a:gd name="connsiteY145" fmla="*/ 783114 h 860426"/>
                <a:gd name="connsiteX146" fmla="*/ 247107 w 863600"/>
                <a:gd name="connsiteY146" fmla="*/ 784543 h 860426"/>
                <a:gd name="connsiteX147" fmla="*/ 252099 w 863600"/>
                <a:gd name="connsiteY147" fmla="*/ 787401 h 860426"/>
                <a:gd name="connsiteX148" fmla="*/ 254951 w 863600"/>
                <a:gd name="connsiteY148" fmla="*/ 788829 h 860426"/>
                <a:gd name="connsiteX149" fmla="*/ 270639 w 863600"/>
                <a:gd name="connsiteY149" fmla="*/ 796688 h 860426"/>
                <a:gd name="connsiteX150" fmla="*/ 273492 w 863600"/>
                <a:gd name="connsiteY150" fmla="*/ 798116 h 860426"/>
                <a:gd name="connsiteX151" fmla="*/ 278483 w 863600"/>
                <a:gd name="connsiteY151" fmla="*/ 800259 h 860426"/>
                <a:gd name="connsiteX152" fmla="*/ 282049 w 863600"/>
                <a:gd name="connsiteY152" fmla="*/ 800974 h 860426"/>
                <a:gd name="connsiteX153" fmla="*/ 287041 w 863600"/>
                <a:gd name="connsiteY153" fmla="*/ 803117 h 860426"/>
                <a:gd name="connsiteX154" fmla="*/ 289893 w 863600"/>
                <a:gd name="connsiteY154" fmla="*/ 804546 h 860426"/>
                <a:gd name="connsiteX155" fmla="*/ 302016 w 863600"/>
                <a:gd name="connsiteY155" fmla="*/ 808832 h 860426"/>
                <a:gd name="connsiteX156" fmla="*/ 431800 w 863600"/>
                <a:gd name="connsiteY156" fmla="*/ 830263 h 860426"/>
                <a:gd name="connsiteX157" fmla="*/ 561585 w 863600"/>
                <a:gd name="connsiteY157" fmla="*/ 808832 h 860426"/>
                <a:gd name="connsiteX158" fmla="*/ 573707 w 863600"/>
                <a:gd name="connsiteY158" fmla="*/ 804546 h 860426"/>
                <a:gd name="connsiteX159" fmla="*/ 576560 w 863600"/>
                <a:gd name="connsiteY159" fmla="*/ 803117 h 860426"/>
                <a:gd name="connsiteX160" fmla="*/ 581552 w 863600"/>
                <a:gd name="connsiteY160" fmla="*/ 800974 h 860426"/>
                <a:gd name="connsiteX161" fmla="*/ 585117 w 863600"/>
                <a:gd name="connsiteY161" fmla="*/ 800259 h 860426"/>
                <a:gd name="connsiteX162" fmla="*/ 590109 w 863600"/>
                <a:gd name="connsiteY162" fmla="*/ 798116 h 860426"/>
                <a:gd name="connsiteX163" fmla="*/ 592961 w 863600"/>
                <a:gd name="connsiteY163" fmla="*/ 796688 h 860426"/>
                <a:gd name="connsiteX164" fmla="*/ 608649 w 863600"/>
                <a:gd name="connsiteY164" fmla="*/ 788829 h 860426"/>
                <a:gd name="connsiteX165" fmla="*/ 611502 w 863600"/>
                <a:gd name="connsiteY165" fmla="*/ 787401 h 860426"/>
                <a:gd name="connsiteX166" fmla="*/ 616494 w 863600"/>
                <a:gd name="connsiteY166" fmla="*/ 784543 h 860426"/>
                <a:gd name="connsiteX167" fmla="*/ 619346 w 863600"/>
                <a:gd name="connsiteY167" fmla="*/ 783114 h 860426"/>
                <a:gd name="connsiteX168" fmla="*/ 623625 w 863600"/>
                <a:gd name="connsiteY168" fmla="*/ 780971 h 860426"/>
                <a:gd name="connsiteX169" fmla="*/ 626477 w 863600"/>
                <a:gd name="connsiteY169" fmla="*/ 779543 h 860426"/>
                <a:gd name="connsiteX170" fmla="*/ 637173 w 863600"/>
                <a:gd name="connsiteY170" fmla="*/ 773113 h 860426"/>
                <a:gd name="connsiteX171" fmla="*/ 637887 w 863600"/>
                <a:gd name="connsiteY171" fmla="*/ 772399 h 860426"/>
                <a:gd name="connsiteX172" fmla="*/ 642165 w 863600"/>
                <a:gd name="connsiteY172" fmla="*/ 770256 h 860426"/>
                <a:gd name="connsiteX173" fmla="*/ 645018 w 863600"/>
                <a:gd name="connsiteY173" fmla="*/ 768113 h 860426"/>
                <a:gd name="connsiteX174" fmla="*/ 649296 w 863600"/>
                <a:gd name="connsiteY174" fmla="*/ 765255 h 860426"/>
                <a:gd name="connsiteX175" fmla="*/ 652149 w 863600"/>
                <a:gd name="connsiteY175" fmla="*/ 763112 h 860426"/>
                <a:gd name="connsiteX176" fmla="*/ 656427 w 863600"/>
                <a:gd name="connsiteY176" fmla="*/ 760254 h 860426"/>
                <a:gd name="connsiteX177" fmla="*/ 659280 w 863600"/>
                <a:gd name="connsiteY177" fmla="*/ 758826 h 860426"/>
                <a:gd name="connsiteX178" fmla="*/ 667124 w 863600"/>
                <a:gd name="connsiteY178" fmla="*/ 753111 h 860426"/>
                <a:gd name="connsiteX179" fmla="*/ 669976 w 863600"/>
                <a:gd name="connsiteY179" fmla="*/ 750968 h 860426"/>
                <a:gd name="connsiteX180" fmla="*/ 673542 w 863600"/>
                <a:gd name="connsiteY180" fmla="*/ 748110 h 860426"/>
                <a:gd name="connsiteX181" fmla="*/ 677107 w 863600"/>
                <a:gd name="connsiteY181" fmla="*/ 745967 h 860426"/>
                <a:gd name="connsiteX182" fmla="*/ 680673 w 863600"/>
                <a:gd name="connsiteY182" fmla="*/ 743109 h 860426"/>
                <a:gd name="connsiteX183" fmla="*/ 683525 w 863600"/>
                <a:gd name="connsiteY183" fmla="*/ 740252 h 860426"/>
                <a:gd name="connsiteX184" fmla="*/ 687091 w 863600"/>
                <a:gd name="connsiteY184" fmla="*/ 737394 h 860426"/>
                <a:gd name="connsiteX185" fmla="*/ 689943 w 863600"/>
                <a:gd name="connsiteY185" fmla="*/ 735251 h 860426"/>
                <a:gd name="connsiteX186" fmla="*/ 696361 w 863600"/>
                <a:gd name="connsiteY186" fmla="*/ 729536 h 860426"/>
                <a:gd name="connsiteX187" fmla="*/ 699926 w 863600"/>
                <a:gd name="connsiteY187" fmla="*/ 726679 h 860426"/>
                <a:gd name="connsiteX188" fmla="*/ 702779 w 863600"/>
                <a:gd name="connsiteY188" fmla="*/ 723821 h 860426"/>
                <a:gd name="connsiteX189" fmla="*/ 706344 w 863600"/>
                <a:gd name="connsiteY189" fmla="*/ 720964 h 860426"/>
                <a:gd name="connsiteX190" fmla="*/ 709197 w 863600"/>
                <a:gd name="connsiteY190" fmla="*/ 717392 h 860426"/>
                <a:gd name="connsiteX191" fmla="*/ 712049 w 863600"/>
                <a:gd name="connsiteY191" fmla="*/ 714534 h 860426"/>
                <a:gd name="connsiteX192" fmla="*/ 715615 w 863600"/>
                <a:gd name="connsiteY192" fmla="*/ 711677 h 860426"/>
                <a:gd name="connsiteX193" fmla="*/ 718467 w 863600"/>
                <a:gd name="connsiteY193" fmla="*/ 708105 h 860426"/>
                <a:gd name="connsiteX194" fmla="*/ 723459 w 863600"/>
                <a:gd name="connsiteY194" fmla="*/ 703104 h 860426"/>
                <a:gd name="connsiteX195" fmla="*/ 727024 w 863600"/>
                <a:gd name="connsiteY195" fmla="*/ 699533 h 860426"/>
                <a:gd name="connsiteX196" fmla="*/ 729877 w 863600"/>
                <a:gd name="connsiteY196" fmla="*/ 696675 h 860426"/>
                <a:gd name="connsiteX197" fmla="*/ 732729 w 863600"/>
                <a:gd name="connsiteY197" fmla="*/ 693103 h 860426"/>
                <a:gd name="connsiteX198" fmla="*/ 735582 w 863600"/>
                <a:gd name="connsiteY198" fmla="*/ 690246 h 860426"/>
                <a:gd name="connsiteX199" fmla="*/ 737008 w 863600"/>
                <a:gd name="connsiteY199" fmla="*/ 688817 h 860426"/>
                <a:gd name="connsiteX200" fmla="*/ 738434 w 863600"/>
                <a:gd name="connsiteY200" fmla="*/ 686674 h 860426"/>
                <a:gd name="connsiteX201" fmla="*/ 741286 w 863600"/>
                <a:gd name="connsiteY201" fmla="*/ 683816 h 860426"/>
                <a:gd name="connsiteX202" fmla="*/ 743426 w 863600"/>
                <a:gd name="connsiteY202" fmla="*/ 680959 h 860426"/>
                <a:gd name="connsiteX203" fmla="*/ 744852 w 863600"/>
                <a:gd name="connsiteY203" fmla="*/ 678816 h 860426"/>
                <a:gd name="connsiteX204" fmla="*/ 748417 w 863600"/>
                <a:gd name="connsiteY204" fmla="*/ 674529 h 860426"/>
                <a:gd name="connsiteX205" fmla="*/ 749130 w 863600"/>
                <a:gd name="connsiteY205" fmla="*/ 673101 h 860426"/>
                <a:gd name="connsiteX206" fmla="*/ 749844 w 863600"/>
                <a:gd name="connsiteY206" fmla="*/ 673101 h 860426"/>
                <a:gd name="connsiteX207" fmla="*/ 751270 w 863600"/>
                <a:gd name="connsiteY207" fmla="*/ 670243 h 860426"/>
                <a:gd name="connsiteX208" fmla="*/ 754122 w 863600"/>
                <a:gd name="connsiteY208" fmla="*/ 667386 h 860426"/>
                <a:gd name="connsiteX209" fmla="*/ 755548 w 863600"/>
                <a:gd name="connsiteY209" fmla="*/ 665243 h 860426"/>
                <a:gd name="connsiteX210" fmla="*/ 756975 w 863600"/>
                <a:gd name="connsiteY210" fmla="*/ 663814 h 860426"/>
                <a:gd name="connsiteX211" fmla="*/ 759114 w 863600"/>
                <a:gd name="connsiteY211" fmla="*/ 660242 h 860426"/>
                <a:gd name="connsiteX212" fmla="*/ 761253 w 863600"/>
                <a:gd name="connsiteY212" fmla="*/ 657384 h 860426"/>
                <a:gd name="connsiteX213" fmla="*/ 761966 w 863600"/>
                <a:gd name="connsiteY213" fmla="*/ 655956 h 860426"/>
                <a:gd name="connsiteX214" fmla="*/ 764106 w 863600"/>
                <a:gd name="connsiteY214" fmla="*/ 653098 h 860426"/>
                <a:gd name="connsiteX215" fmla="*/ 766958 w 863600"/>
                <a:gd name="connsiteY215" fmla="*/ 648812 h 860426"/>
                <a:gd name="connsiteX216" fmla="*/ 768384 w 863600"/>
                <a:gd name="connsiteY216" fmla="*/ 645954 h 860426"/>
                <a:gd name="connsiteX217" fmla="*/ 770523 w 863600"/>
                <a:gd name="connsiteY217" fmla="*/ 643811 h 860426"/>
                <a:gd name="connsiteX218" fmla="*/ 771950 w 863600"/>
                <a:gd name="connsiteY218" fmla="*/ 640239 h 860426"/>
                <a:gd name="connsiteX219" fmla="*/ 773376 w 863600"/>
                <a:gd name="connsiteY219" fmla="*/ 638811 h 860426"/>
                <a:gd name="connsiteX220" fmla="*/ 775515 w 863600"/>
                <a:gd name="connsiteY220" fmla="*/ 635239 h 860426"/>
                <a:gd name="connsiteX221" fmla="*/ 777654 w 863600"/>
                <a:gd name="connsiteY221" fmla="*/ 631667 h 860426"/>
                <a:gd name="connsiteX222" fmla="*/ 777654 w 863600"/>
                <a:gd name="connsiteY222" fmla="*/ 630953 h 860426"/>
                <a:gd name="connsiteX223" fmla="*/ 779794 w 863600"/>
                <a:gd name="connsiteY223" fmla="*/ 627381 h 860426"/>
                <a:gd name="connsiteX224" fmla="*/ 781933 w 863600"/>
                <a:gd name="connsiteY224" fmla="*/ 624523 h 860426"/>
                <a:gd name="connsiteX225" fmla="*/ 781933 w 863600"/>
                <a:gd name="connsiteY225" fmla="*/ 623094 h 860426"/>
                <a:gd name="connsiteX226" fmla="*/ 782646 w 863600"/>
                <a:gd name="connsiteY226" fmla="*/ 623094 h 860426"/>
                <a:gd name="connsiteX227" fmla="*/ 784072 w 863600"/>
                <a:gd name="connsiteY227" fmla="*/ 620237 h 860426"/>
                <a:gd name="connsiteX228" fmla="*/ 785499 w 863600"/>
                <a:gd name="connsiteY228" fmla="*/ 616665 h 860426"/>
                <a:gd name="connsiteX229" fmla="*/ 786925 w 863600"/>
                <a:gd name="connsiteY229" fmla="*/ 615236 h 860426"/>
                <a:gd name="connsiteX230" fmla="*/ 788351 w 863600"/>
                <a:gd name="connsiteY230" fmla="*/ 612379 h 860426"/>
                <a:gd name="connsiteX231" fmla="*/ 789064 w 863600"/>
                <a:gd name="connsiteY231" fmla="*/ 610236 h 860426"/>
                <a:gd name="connsiteX232" fmla="*/ 789777 w 863600"/>
                <a:gd name="connsiteY232" fmla="*/ 608807 h 860426"/>
                <a:gd name="connsiteX233" fmla="*/ 791203 w 863600"/>
                <a:gd name="connsiteY233" fmla="*/ 606664 h 860426"/>
                <a:gd name="connsiteX234" fmla="*/ 791917 w 863600"/>
                <a:gd name="connsiteY234" fmla="*/ 604521 h 860426"/>
                <a:gd name="connsiteX235" fmla="*/ 793343 w 863600"/>
                <a:gd name="connsiteY235" fmla="*/ 601663 h 860426"/>
                <a:gd name="connsiteX236" fmla="*/ 794056 w 863600"/>
                <a:gd name="connsiteY236" fmla="*/ 600234 h 860426"/>
                <a:gd name="connsiteX237" fmla="*/ 794769 w 863600"/>
                <a:gd name="connsiteY237" fmla="*/ 598091 h 860426"/>
                <a:gd name="connsiteX238" fmla="*/ 795482 w 863600"/>
                <a:gd name="connsiteY238" fmla="*/ 596663 h 860426"/>
                <a:gd name="connsiteX239" fmla="*/ 797621 w 863600"/>
                <a:gd name="connsiteY239" fmla="*/ 593091 h 860426"/>
                <a:gd name="connsiteX240" fmla="*/ 797621 w 863600"/>
                <a:gd name="connsiteY240" fmla="*/ 592376 h 860426"/>
                <a:gd name="connsiteX241" fmla="*/ 799048 w 863600"/>
                <a:gd name="connsiteY241" fmla="*/ 590233 h 860426"/>
                <a:gd name="connsiteX242" fmla="*/ 799761 w 863600"/>
                <a:gd name="connsiteY242" fmla="*/ 587376 h 860426"/>
                <a:gd name="connsiteX243" fmla="*/ 800474 w 863600"/>
                <a:gd name="connsiteY243" fmla="*/ 585233 h 860426"/>
                <a:gd name="connsiteX244" fmla="*/ 801187 w 863600"/>
                <a:gd name="connsiteY244" fmla="*/ 583804 h 860426"/>
                <a:gd name="connsiteX245" fmla="*/ 802613 w 863600"/>
                <a:gd name="connsiteY245" fmla="*/ 581661 h 860426"/>
                <a:gd name="connsiteX246" fmla="*/ 804039 w 863600"/>
                <a:gd name="connsiteY246" fmla="*/ 576660 h 860426"/>
                <a:gd name="connsiteX247" fmla="*/ 804752 w 863600"/>
                <a:gd name="connsiteY247" fmla="*/ 575231 h 860426"/>
                <a:gd name="connsiteX248" fmla="*/ 804752 w 863600"/>
                <a:gd name="connsiteY248" fmla="*/ 574517 h 860426"/>
                <a:gd name="connsiteX249" fmla="*/ 805465 w 863600"/>
                <a:gd name="connsiteY249" fmla="*/ 573088 h 860426"/>
                <a:gd name="connsiteX250" fmla="*/ 807605 w 863600"/>
                <a:gd name="connsiteY250" fmla="*/ 569516 h 860426"/>
                <a:gd name="connsiteX251" fmla="*/ 808318 w 863600"/>
                <a:gd name="connsiteY251" fmla="*/ 566659 h 860426"/>
                <a:gd name="connsiteX252" fmla="*/ 808318 w 863600"/>
                <a:gd name="connsiteY252" fmla="*/ 565944 h 860426"/>
                <a:gd name="connsiteX253" fmla="*/ 810457 w 863600"/>
                <a:gd name="connsiteY253" fmla="*/ 560944 h 860426"/>
                <a:gd name="connsiteX254" fmla="*/ 811170 w 863600"/>
                <a:gd name="connsiteY254" fmla="*/ 559515 h 860426"/>
                <a:gd name="connsiteX255" fmla="*/ 811170 w 863600"/>
                <a:gd name="connsiteY255" fmla="*/ 558086 h 860426"/>
                <a:gd name="connsiteX256" fmla="*/ 811170 w 863600"/>
                <a:gd name="connsiteY256" fmla="*/ 557372 h 860426"/>
                <a:gd name="connsiteX257" fmla="*/ 813310 w 863600"/>
                <a:gd name="connsiteY257" fmla="*/ 550943 h 860426"/>
                <a:gd name="connsiteX258" fmla="*/ 814023 w 863600"/>
                <a:gd name="connsiteY258" fmla="*/ 548799 h 860426"/>
                <a:gd name="connsiteX259" fmla="*/ 816162 w 863600"/>
                <a:gd name="connsiteY259" fmla="*/ 542370 h 860426"/>
                <a:gd name="connsiteX260" fmla="*/ 816875 w 863600"/>
                <a:gd name="connsiteY260" fmla="*/ 540941 h 860426"/>
                <a:gd name="connsiteX261" fmla="*/ 816875 w 863600"/>
                <a:gd name="connsiteY261" fmla="*/ 540227 h 860426"/>
                <a:gd name="connsiteX262" fmla="*/ 817588 w 863600"/>
                <a:gd name="connsiteY262" fmla="*/ 538084 h 860426"/>
                <a:gd name="connsiteX263" fmla="*/ 818301 w 863600"/>
                <a:gd name="connsiteY263" fmla="*/ 535226 h 860426"/>
                <a:gd name="connsiteX264" fmla="*/ 819014 w 863600"/>
                <a:gd name="connsiteY264" fmla="*/ 531654 h 860426"/>
                <a:gd name="connsiteX265" fmla="*/ 819727 w 863600"/>
                <a:gd name="connsiteY265" fmla="*/ 528797 h 860426"/>
                <a:gd name="connsiteX266" fmla="*/ 820441 w 863600"/>
                <a:gd name="connsiteY266" fmla="*/ 525939 h 860426"/>
                <a:gd name="connsiteX267" fmla="*/ 821154 w 863600"/>
                <a:gd name="connsiteY267" fmla="*/ 522368 h 860426"/>
                <a:gd name="connsiteX268" fmla="*/ 821867 w 863600"/>
                <a:gd name="connsiteY268" fmla="*/ 522368 h 860426"/>
                <a:gd name="connsiteX269" fmla="*/ 821867 w 863600"/>
                <a:gd name="connsiteY269" fmla="*/ 519510 h 860426"/>
                <a:gd name="connsiteX270" fmla="*/ 822580 w 863600"/>
                <a:gd name="connsiteY270" fmla="*/ 517367 h 860426"/>
                <a:gd name="connsiteX271" fmla="*/ 823293 w 863600"/>
                <a:gd name="connsiteY271" fmla="*/ 512366 h 860426"/>
                <a:gd name="connsiteX272" fmla="*/ 824006 w 863600"/>
                <a:gd name="connsiteY272" fmla="*/ 512366 h 860426"/>
                <a:gd name="connsiteX273" fmla="*/ 824006 w 863600"/>
                <a:gd name="connsiteY273" fmla="*/ 510938 h 860426"/>
                <a:gd name="connsiteX274" fmla="*/ 824719 w 863600"/>
                <a:gd name="connsiteY274" fmla="*/ 508080 h 860426"/>
                <a:gd name="connsiteX275" fmla="*/ 825432 w 863600"/>
                <a:gd name="connsiteY275" fmla="*/ 503079 h 860426"/>
                <a:gd name="connsiteX276" fmla="*/ 825432 w 863600"/>
                <a:gd name="connsiteY276" fmla="*/ 501651 h 860426"/>
                <a:gd name="connsiteX277" fmla="*/ 826145 w 863600"/>
                <a:gd name="connsiteY277" fmla="*/ 498793 h 860426"/>
                <a:gd name="connsiteX278" fmla="*/ 826145 w 863600"/>
                <a:gd name="connsiteY278" fmla="*/ 498079 h 860426"/>
                <a:gd name="connsiteX279" fmla="*/ 826859 w 863600"/>
                <a:gd name="connsiteY279" fmla="*/ 493793 h 860426"/>
                <a:gd name="connsiteX280" fmla="*/ 827572 w 863600"/>
                <a:gd name="connsiteY280" fmla="*/ 492364 h 860426"/>
                <a:gd name="connsiteX281" fmla="*/ 827572 w 863600"/>
                <a:gd name="connsiteY281" fmla="*/ 489506 h 860426"/>
                <a:gd name="connsiteX282" fmla="*/ 827572 w 863600"/>
                <a:gd name="connsiteY282" fmla="*/ 488792 h 860426"/>
                <a:gd name="connsiteX283" fmla="*/ 828285 w 863600"/>
                <a:gd name="connsiteY283" fmla="*/ 485934 h 860426"/>
                <a:gd name="connsiteX284" fmla="*/ 828285 w 863600"/>
                <a:gd name="connsiteY284" fmla="*/ 483791 h 860426"/>
                <a:gd name="connsiteX285" fmla="*/ 828998 w 863600"/>
                <a:gd name="connsiteY285" fmla="*/ 483077 h 860426"/>
                <a:gd name="connsiteX286" fmla="*/ 828998 w 863600"/>
                <a:gd name="connsiteY286" fmla="*/ 480219 h 860426"/>
                <a:gd name="connsiteX287" fmla="*/ 828998 w 863600"/>
                <a:gd name="connsiteY287" fmla="*/ 479505 h 860426"/>
                <a:gd name="connsiteX288" fmla="*/ 829711 w 863600"/>
                <a:gd name="connsiteY288" fmla="*/ 473790 h 860426"/>
                <a:gd name="connsiteX289" fmla="*/ 829711 w 863600"/>
                <a:gd name="connsiteY289" fmla="*/ 471647 h 860426"/>
                <a:gd name="connsiteX290" fmla="*/ 830424 w 863600"/>
                <a:gd name="connsiteY290" fmla="*/ 470933 h 860426"/>
                <a:gd name="connsiteX291" fmla="*/ 830424 w 863600"/>
                <a:gd name="connsiteY291" fmla="*/ 469504 h 860426"/>
                <a:gd name="connsiteX292" fmla="*/ 830424 w 863600"/>
                <a:gd name="connsiteY292" fmla="*/ 463789 h 860426"/>
                <a:gd name="connsiteX293" fmla="*/ 831137 w 863600"/>
                <a:gd name="connsiteY293" fmla="*/ 461646 h 860426"/>
                <a:gd name="connsiteX294" fmla="*/ 831137 w 863600"/>
                <a:gd name="connsiteY294" fmla="*/ 459503 h 860426"/>
                <a:gd name="connsiteX295" fmla="*/ 831137 w 863600"/>
                <a:gd name="connsiteY295" fmla="*/ 458788 h 860426"/>
                <a:gd name="connsiteX296" fmla="*/ 831137 w 863600"/>
                <a:gd name="connsiteY296" fmla="*/ 453788 h 860426"/>
                <a:gd name="connsiteX297" fmla="*/ 831850 w 863600"/>
                <a:gd name="connsiteY297" fmla="*/ 452359 h 860426"/>
                <a:gd name="connsiteX298" fmla="*/ 831850 w 863600"/>
                <a:gd name="connsiteY298" fmla="*/ 450216 h 860426"/>
                <a:gd name="connsiteX299" fmla="*/ 831850 w 863600"/>
                <a:gd name="connsiteY299" fmla="*/ 448787 h 860426"/>
                <a:gd name="connsiteX300" fmla="*/ 831850 w 863600"/>
                <a:gd name="connsiteY300" fmla="*/ 443786 h 860426"/>
                <a:gd name="connsiteX301" fmla="*/ 831850 w 863600"/>
                <a:gd name="connsiteY301" fmla="*/ 443072 h 860426"/>
                <a:gd name="connsiteX302" fmla="*/ 831850 w 863600"/>
                <a:gd name="connsiteY302" fmla="*/ 440929 h 860426"/>
                <a:gd name="connsiteX303" fmla="*/ 831850 w 863600"/>
                <a:gd name="connsiteY303" fmla="*/ 440214 h 860426"/>
                <a:gd name="connsiteX304" fmla="*/ 831850 w 863600"/>
                <a:gd name="connsiteY304" fmla="*/ 430928 h 860426"/>
                <a:gd name="connsiteX305" fmla="*/ 431800 w 863600"/>
                <a:gd name="connsiteY305" fmla="*/ 30163 h 860426"/>
                <a:gd name="connsiteX306" fmla="*/ 431800 w 863600"/>
                <a:gd name="connsiteY306" fmla="*/ 0 h 860426"/>
                <a:gd name="connsiteX307" fmla="*/ 863600 w 863600"/>
                <a:gd name="connsiteY307" fmla="*/ 430213 h 860426"/>
                <a:gd name="connsiteX308" fmla="*/ 431800 w 863600"/>
                <a:gd name="connsiteY308" fmla="*/ 860426 h 860426"/>
                <a:gd name="connsiteX309" fmla="*/ 0 w 863600"/>
                <a:gd name="connsiteY309" fmla="*/ 430213 h 860426"/>
                <a:gd name="connsiteX310" fmla="*/ 431800 w 863600"/>
                <a:gd name="connsiteY310" fmla="*/ 0 h 860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</a:cxnLst>
              <a:rect l="l" t="t" r="r" b="b"/>
              <a:pathLst>
                <a:path w="863600" h="860426">
                  <a:moveTo>
                    <a:pt x="430366" y="57151"/>
                  </a:moveTo>
                  <a:cubicBezTo>
                    <a:pt x="438942" y="57151"/>
                    <a:pt x="446088" y="64301"/>
                    <a:pt x="446088" y="72880"/>
                  </a:cubicBezTo>
                  <a:cubicBezTo>
                    <a:pt x="446088" y="81460"/>
                    <a:pt x="438942" y="88609"/>
                    <a:pt x="430366" y="88609"/>
                  </a:cubicBezTo>
                  <a:cubicBezTo>
                    <a:pt x="243123" y="88609"/>
                    <a:pt x="90184" y="241611"/>
                    <a:pt x="90184" y="429645"/>
                  </a:cubicBezTo>
                  <a:cubicBezTo>
                    <a:pt x="90184" y="438940"/>
                    <a:pt x="83752" y="446089"/>
                    <a:pt x="74461" y="446089"/>
                  </a:cubicBezTo>
                  <a:cubicBezTo>
                    <a:pt x="65885" y="446089"/>
                    <a:pt x="58738" y="438940"/>
                    <a:pt x="58738" y="429645"/>
                  </a:cubicBezTo>
                  <a:cubicBezTo>
                    <a:pt x="58738" y="224452"/>
                    <a:pt x="225971" y="57151"/>
                    <a:pt x="430366" y="57151"/>
                  </a:cubicBezTo>
                  <a:close/>
                  <a:moveTo>
                    <a:pt x="431800" y="30163"/>
                  </a:moveTo>
                  <a:cubicBezTo>
                    <a:pt x="211452" y="30163"/>
                    <a:pt x="31750" y="210186"/>
                    <a:pt x="31750" y="430928"/>
                  </a:cubicBezTo>
                  <a:cubicBezTo>
                    <a:pt x="31750" y="433785"/>
                    <a:pt x="31750" y="436643"/>
                    <a:pt x="31750" y="440214"/>
                  </a:cubicBezTo>
                  <a:cubicBezTo>
                    <a:pt x="31750" y="440214"/>
                    <a:pt x="31750" y="440214"/>
                    <a:pt x="31750" y="440929"/>
                  </a:cubicBezTo>
                  <a:cubicBezTo>
                    <a:pt x="31750" y="441643"/>
                    <a:pt x="31750" y="442358"/>
                    <a:pt x="31750" y="443072"/>
                  </a:cubicBezTo>
                  <a:cubicBezTo>
                    <a:pt x="31750" y="443072"/>
                    <a:pt x="31750" y="443072"/>
                    <a:pt x="31750" y="443786"/>
                  </a:cubicBezTo>
                  <a:cubicBezTo>
                    <a:pt x="31750" y="445929"/>
                    <a:pt x="31750" y="447358"/>
                    <a:pt x="31750" y="448787"/>
                  </a:cubicBezTo>
                  <a:cubicBezTo>
                    <a:pt x="31750" y="449501"/>
                    <a:pt x="31750" y="449501"/>
                    <a:pt x="31750" y="450216"/>
                  </a:cubicBezTo>
                  <a:cubicBezTo>
                    <a:pt x="31750" y="450930"/>
                    <a:pt x="31750" y="451644"/>
                    <a:pt x="31750" y="452359"/>
                  </a:cubicBezTo>
                  <a:cubicBezTo>
                    <a:pt x="31750" y="453073"/>
                    <a:pt x="32463" y="453073"/>
                    <a:pt x="32463" y="453788"/>
                  </a:cubicBezTo>
                  <a:cubicBezTo>
                    <a:pt x="32463" y="455216"/>
                    <a:pt x="32463" y="457359"/>
                    <a:pt x="32463" y="458788"/>
                  </a:cubicBezTo>
                  <a:cubicBezTo>
                    <a:pt x="32463" y="458788"/>
                    <a:pt x="32463" y="458788"/>
                    <a:pt x="32463" y="459503"/>
                  </a:cubicBezTo>
                  <a:cubicBezTo>
                    <a:pt x="32463" y="460217"/>
                    <a:pt x="32463" y="460931"/>
                    <a:pt x="32463" y="461646"/>
                  </a:cubicBezTo>
                  <a:cubicBezTo>
                    <a:pt x="32463" y="462360"/>
                    <a:pt x="32463" y="463074"/>
                    <a:pt x="33176" y="463789"/>
                  </a:cubicBezTo>
                  <a:cubicBezTo>
                    <a:pt x="33176" y="465932"/>
                    <a:pt x="33176" y="467361"/>
                    <a:pt x="33176" y="469504"/>
                  </a:cubicBezTo>
                  <a:cubicBezTo>
                    <a:pt x="33176" y="470218"/>
                    <a:pt x="33176" y="470218"/>
                    <a:pt x="33176" y="470933"/>
                  </a:cubicBezTo>
                  <a:cubicBezTo>
                    <a:pt x="33176" y="470933"/>
                    <a:pt x="33176" y="470933"/>
                    <a:pt x="33890" y="471647"/>
                  </a:cubicBezTo>
                  <a:cubicBezTo>
                    <a:pt x="33890" y="472361"/>
                    <a:pt x="33890" y="473076"/>
                    <a:pt x="33890" y="473790"/>
                  </a:cubicBezTo>
                  <a:cubicBezTo>
                    <a:pt x="33890" y="475933"/>
                    <a:pt x="33890" y="477362"/>
                    <a:pt x="34603" y="479505"/>
                  </a:cubicBezTo>
                  <a:cubicBezTo>
                    <a:pt x="34603" y="479505"/>
                    <a:pt x="34603" y="479505"/>
                    <a:pt x="34603" y="480219"/>
                  </a:cubicBezTo>
                  <a:cubicBezTo>
                    <a:pt x="34603" y="480934"/>
                    <a:pt x="34603" y="482363"/>
                    <a:pt x="34603" y="483077"/>
                  </a:cubicBezTo>
                  <a:cubicBezTo>
                    <a:pt x="34603" y="483077"/>
                    <a:pt x="34603" y="483077"/>
                    <a:pt x="35316" y="483791"/>
                  </a:cubicBezTo>
                  <a:cubicBezTo>
                    <a:pt x="35316" y="484506"/>
                    <a:pt x="35316" y="485220"/>
                    <a:pt x="35316" y="485934"/>
                  </a:cubicBezTo>
                  <a:cubicBezTo>
                    <a:pt x="35316" y="487363"/>
                    <a:pt x="35316" y="488078"/>
                    <a:pt x="36029" y="488792"/>
                  </a:cubicBezTo>
                  <a:cubicBezTo>
                    <a:pt x="36029" y="488792"/>
                    <a:pt x="36029" y="488792"/>
                    <a:pt x="36029" y="489506"/>
                  </a:cubicBezTo>
                  <a:cubicBezTo>
                    <a:pt x="36029" y="490221"/>
                    <a:pt x="36029" y="491649"/>
                    <a:pt x="36029" y="492364"/>
                  </a:cubicBezTo>
                  <a:cubicBezTo>
                    <a:pt x="36029" y="493078"/>
                    <a:pt x="36742" y="493078"/>
                    <a:pt x="36742" y="493793"/>
                  </a:cubicBezTo>
                  <a:cubicBezTo>
                    <a:pt x="36742" y="495221"/>
                    <a:pt x="36742" y="496650"/>
                    <a:pt x="37455" y="498079"/>
                  </a:cubicBezTo>
                  <a:cubicBezTo>
                    <a:pt x="37455" y="498793"/>
                    <a:pt x="37455" y="498793"/>
                    <a:pt x="37455" y="498793"/>
                  </a:cubicBezTo>
                  <a:cubicBezTo>
                    <a:pt x="37455" y="500222"/>
                    <a:pt x="37455" y="500936"/>
                    <a:pt x="38168" y="501651"/>
                  </a:cubicBezTo>
                  <a:cubicBezTo>
                    <a:pt x="38168" y="502365"/>
                    <a:pt x="38168" y="502365"/>
                    <a:pt x="38168" y="503079"/>
                  </a:cubicBezTo>
                  <a:cubicBezTo>
                    <a:pt x="38168" y="504508"/>
                    <a:pt x="38881" y="505937"/>
                    <a:pt x="38881" y="508080"/>
                  </a:cubicBezTo>
                  <a:cubicBezTo>
                    <a:pt x="38881" y="508794"/>
                    <a:pt x="39594" y="509509"/>
                    <a:pt x="39594" y="510938"/>
                  </a:cubicBezTo>
                  <a:cubicBezTo>
                    <a:pt x="39594" y="510938"/>
                    <a:pt x="39594" y="511652"/>
                    <a:pt x="39594" y="512366"/>
                  </a:cubicBezTo>
                  <a:cubicBezTo>
                    <a:pt x="39594" y="512366"/>
                    <a:pt x="39594" y="512366"/>
                    <a:pt x="40307" y="512366"/>
                  </a:cubicBezTo>
                  <a:cubicBezTo>
                    <a:pt x="40307" y="513795"/>
                    <a:pt x="40307" y="515938"/>
                    <a:pt x="41021" y="517367"/>
                  </a:cubicBezTo>
                  <a:cubicBezTo>
                    <a:pt x="41021" y="518081"/>
                    <a:pt x="41021" y="518796"/>
                    <a:pt x="41734" y="519510"/>
                  </a:cubicBezTo>
                  <a:cubicBezTo>
                    <a:pt x="41734" y="520224"/>
                    <a:pt x="41734" y="520939"/>
                    <a:pt x="41734" y="522368"/>
                  </a:cubicBezTo>
                  <a:cubicBezTo>
                    <a:pt x="42447" y="522368"/>
                    <a:pt x="42447" y="522368"/>
                    <a:pt x="42447" y="522368"/>
                  </a:cubicBezTo>
                  <a:cubicBezTo>
                    <a:pt x="42447" y="523796"/>
                    <a:pt x="42447" y="525225"/>
                    <a:pt x="43160" y="525939"/>
                  </a:cubicBezTo>
                  <a:cubicBezTo>
                    <a:pt x="43160" y="526654"/>
                    <a:pt x="43160" y="528083"/>
                    <a:pt x="43873" y="528797"/>
                  </a:cubicBezTo>
                  <a:cubicBezTo>
                    <a:pt x="43873" y="529511"/>
                    <a:pt x="43873" y="530226"/>
                    <a:pt x="44586" y="531654"/>
                  </a:cubicBezTo>
                  <a:cubicBezTo>
                    <a:pt x="44586" y="533083"/>
                    <a:pt x="45299" y="533798"/>
                    <a:pt x="45299" y="535226"/>
                  </a:cubicBezTo>
                  <a:cubicBezTo>
                    <a:pt x="45299" y="535941"/>
                    <a:pt x="46012" y="536655"/>
                    <a:pt x="46012" y="538084"/>
                  </a:cubicBezTo>
                  <a:cubicBezTo>
                    <a:pt x="46012" y="538798"/>
                    <a:pt x="46725" y="539513"/>
                    <a:pt x="46725" y="540227"/>
                  </a:cubicBezTo>
                  <a:cubicBezTo>
                    <a:pt x="46725" y="540227"/>
                    <a:pt x="46725" y="540227"/>
                    <a:pt x="46725" y="540941"/>
                  </a:cubicBezTo>
                  <a:cubicBezTo>
                    <a:pt x="47438" y="541656"/>
                    <a:pt x="47438" y="542370"/>
                    <a:pt x="47438" y="542370"/>
                  </a:cubicBezTo>
                  <a:cubicBezTo>
                    <a:pt x="48152" y="544513"/>
                    <a:pt x="48865" y="546656"/>
                    <a:pt x="49578" y="548799"/>
                  </a:cubicBezTo>
                  <a:cubicBezTo>
                    <a:pt x="49578" y="549514"/>
                    <a:pt x="49578" y="550228"/>
                    <a:pt x="50291" y="550943"/>
                  </a:cubicBezTo>
                  <a:cubicBezTo>
                    <a:pt x="51004" y="553086"/>
                    <a:pt x="51717" y="555229"/>
                    <a:pt x="52430" y="557372"/>
                  </a:cubicBezTo>
                  <a:cubicBezTo>
                    <a:pt x="52430" y="557372"/>
                    <a:pt x="52430" y="557372"/>
                    <a:pt x="52430" y="558086"/>
                  </a:cubicBezTo>
                  <a:cubicBezTo>
                    <a:pt x="52430" y="558801"/>
                    <a:pt x="52430" y="558801"/>
                    <a:pt x="52430" y="559515"/>
                  </a:cubicBezTo>
                  <a:cubicBezTo>
                    <a:pt x="53143" y="559515"/>
                    <a:pt x="53143" y="560229"/>
                    <a:pt x="53143" y="560944"/>
                  </a:cubicBezTo>
                  <a:cubicBezTo>
                    <a:pt x="53856" y="562373"/>
                    <a:pt x="54570" y="564516"/>
                    <a:pt x="55283" y="565944"/>
                  </a:cubicBezTo>
                  <a:cubicBezTo>
                    <a:pt x="55283" y="566659"/>
                    <a:pt x="55283" y="566659"/>
                    <a:pt x="55283" y="566659"/>
                  </a:cubicBezTo>
                  <a:cubicBezTo>
                    <a:pt x="55996" y="567373"/>
                    <a:pt x="55996" y="568802"/>
                    <a:pt x="55996" y="569516"/>
                  </a:cubicBezTo>
                  <a:cubicBezTo>
                    <a:pt x="56709" y="570231"/>
                    <a:pt x="57422" y="571659"/>
                    <a:pt x="58135" y="573088"/>
                  </a:cubicBezTo>
                  <a:cubicBezTo>
                    <a:pt x="58135" y="573803"/>
                    <a:pt x="58135" y="573803"/>
                    <a:pt x="58848" y="574517"/>
                  </a:cubicBezTo>
                  <a:cubicBezTo>
                    <a:pt x="58848" y="574517"/>
                    <a:pt x="58848" y="574517"/>
                    <a:pt x="58848" y="575231"/>
                  </a:cubicBezTo>
                  <a:cubicBezTo>
                    <a:pt x="58848" y="575946"/>
                    <a:pt x="59561" y="575946"/>
                    <a:pt x="59561" y="576660"/>
                  </a:cubicBezTo>
                  <a:cubicBezTo>
                    <a:pt x="60274" y="578803"/>
                    <a:pt x="60987" y="580232"/>
                    <a:pt x="60987" y="581661"/>
                  </a:cubicBezTo>
                  <a:cubicBezTo>
                    <a:pt x="61701" y="582375"/>
                    <a:pt x="61701" y="583089"/>
                    <a:pt x="62414" y="583804"/>
                  </a:cubicBezTo>
                  <a:cubicBezTo>
                    <a:pt x="62414" y="583804"/>
                    <a:pt x="62414" y="584518"/>
                    <a:pt x="63127" y="585233"/>
                  </a:cubicBezTo>
                  <a:cubicBezTo>
                    <a:pt x="63127" y="585947"/>
                    <a:pt x="63840" y="586661"/>
                    <a:pt x="63840" y="587376"/>
                  </a:cubicBezTo>
                  <a:cubicBezTo>
                    <a:pt x="64553" y="588090"/>
                    <a:pt x="64553" y="588804"/>
                    <a:pt x="64553" y="590233"/>
                  </a:cubicBezTo>
                  <a:cubicBezTo>
                    <a:pt x="65266" y="590948"/>
                    <a:pt x="65266" y="591662"/>
                    <a:pt x="65979" y="592376"/>
                  </a:cubicBezTo>
                  <a:cubicBezTo>
                    <a:pt x="65979" y="592376"/>
                    <a:pt x="65979" y="592376"/>
                    <a:pt x="65979" y="593091"/>
                  </a:cubicBezTo>
                  <a:cubicBezTo>
                    <a:pt x="66692" y="594519"/>
                    <a:pt x="67405" y="595234"/>
                    <a:pt x="68118" y="596663"/>
                  </a:cubicBezTo>
                  <a:cubicBezTo>
                    <a:pt x="68118" y="597377"/>
                    <a:pt x="68118" y="597377"/>
                    <a:pt x="68832" y="598091"/>
                  </a:cubicBezTo>
                  <a:cubicBezTo>
                    <a:pt x="68832" y="598806"/>
                    <a:pt x="69545" y="599520"/>
                    <a:pt x="69545" y="600234"/>
                  </a:cubicBezTo>
                  <a:cubicBezTo>
                    <a:pt x="69545" y="600949"/>
                    <a:pt x="70258" y="600949"/>
                    <a:pt x="70258" y="601663"/>
                  </a:cubicBezTo>
                  <a:cubicBezTo>
                    <a:pt x="70971" y="602378"/>
                    <a:pt x="70971" y="603806"/>
                    <a:pt x="71684" y="604521"/>
                  </a:cubicBezTo>
                  <a:cubicBezTo>
                    <a:pt x="71684" y="605235"/>
                    <a:pt x="72397" y="605949"/>
                    <a:pt x="72397" y="606664"/>
                  </a:cubicBezTo>
                  <a:cubicBezTo>
                    <a:pt x="73110" y="607378"/>
                    <a:pt x="73110" y="608093"/>
                    <a:pt x="73823" y="608807"/>
                  </a:cubicBezTo>
                  <a:cubicBezTo>
                    <a:pt x="73823" y="608807"/>
                    <a:pt x="73823" y="609521"/>
                    <a:pt x="74536" y="610236"/>
                  </a:cubicBezTo>
                  <a:cubicBezTo>
                    <a:pt x="74536" y="610950"/>
                    <a:pt x="75249" y="611664"/>
                    <a:pt x="75249" y="612379"/>
                  </a:cubicBezTo>
                  <a:cubicBezTo>
                    <a:pt x="75963" y="613093"/>
                    <a:pt x="76676" y="614522"/>
                    <a:pt x="76676" y="615236"/>
                  </a:cubicBezTo>
                  <a:cubicBezTo>
                    <a:pt x="77389" y="615236"/>
                    <a:pt x="77389" y="615951"/>
                    <a:pt x="78102" y="616665"/>
                  </a:cubicBezTo>
                  <a:cubicBezTo>
                    <a:pt x="78102" y="617379"/>
                    <a:pt x="78815" y="618808"/>
                    <a:pt x="79528" y="620237"/>
                  </a:cubicBezTo>
                  <a:cubicBezTo>
                    <a:pt x="80241" y="620951"/>
                    <a:pt x="80954" y="621666"/>
                    <a:pt x="80954" y="623094"/>
                  </a:cubicBezTo>
                  <a:cubicBezTo>
                    <a:pt x="80954" y="623094"/>
                    <a:pt x="80954" y="623094"/>
                    <a:pt x="81667" y="623094"/>
                  </a:cubicBezTo>
                  <a:cubicBezTo>
                    <a:pt x="81667" y="623809"/>
                    <a:pt x="81667" y="623809"/>
                    <a:pt x="81667" y="624523"/>
                  </a:cubicBezTo>
                  <a:cubicBezTo>
                    <a:pt x="82380" y="625238"/>
                    <a:pt x="83094" y="626666"/>
                    <a:pt x="83807" y="627381"/>
                  </a:cubicBezTo>
                  <a:cubicBezTo>
                    <a:pt x="84520" y="628809"/>
                    <a:pt x="85233" y="629524"/>
                    <a:pt x="85946" y="630953"/>
                  </a:cubicBezTo>
                  <a:cubicBezTo>
                    <a:pt x="85946" y="630953"/>
                    <a:pt x="85946" y="630953"/>
                    <a:pt x="85946" y="631667"/>
                  </a:cubicBezTo>
                  <a:cubicBezTo>
                    <a:pt x="86659" y="633096"/>
                    <a:pt x="87372" y="633810"/>
                    <a:pt x="88085" y="635239"/>
                  </a:cubicBezTo>
                  <a:cubicBezTo>
                    <a:pt x="88798" y="636668"/>
                    <a:pt x="89511" y="637382"/>
                    <a:pt x="90225" y="638811"/>
                  </a:cubicBezTo>
                  <a:cubicBezTo>
                    <a:pt x="90938" y="638811"/>
                    <a:pt x="90938" y="639525"/>
                    <a:pt x="91651" y="640239"/>
                  </a:cubicBezTo>
                  <a:cubicBezTo>
                    <a:pt x="92364" y="641668"/>
                    <a:pt x="92364" y="642383"/>
                    <a:pt x="93077" y="643811"/>
                  </a:cubicBezTo>
                  <a:cubicBezTo>
                    <a:pt x="93790" y="644526"/>
                    <a:pt x="94503" y="645240"/>
                    <a:pt x="95216" y="645954"/>
                  </a:cubicBezTo>
                  <a:cubicBezTo>
                    <a:pt x="95216" y="646669"/>
                    <a:pt x="95929" y="648098"/>
                    <a:pt x="96642" y="648812"/>
                  </a:cubicBezTo>
                  <a:cubicBezTo>
                    <a:pt x="97356" y="650241"/>
                    <a:pt x="98782" y="651669"/>
                    <a:pt x="99495" y="653098"/>
                  </a:cubicBezTo>
                  <a:cubicBezTo>
                    <a:pt x="100208" y="653813"/>
                    <a:pt x="100921" y="655241"/>
                    <a:pt x="101634" y="655956"/>
                  </a:cubicBezTo>
                  <a:cubicBezTo>
                    <a:pt x="101634" y="656670"/>
                    <a:pt x="102347" y="656670"/>
                    <a:pt x="102347" y="657384"/>
                  </a:cubicBezTo>
                  <a:cubicBezTo>
                    <a:pt x="103060" y="658099"/>
                    <a:pt x="103774" y="659528"/>
                    <a:pt x="104487" y="660242"/>
                  </a:cubicBezTo>
                  <a:cubicBezTo>
                    <a:pt x="105200" y="660956"/>
                    <a:pt x="105913" y="662385"/>
                    <a:pt x="106626" y="663814"/>
                  </a:cubicBezTo>
                  <a:cubicBezTo>
                    <a:pt x="107339" y="663814"/>
                    <a:pt x="107339" y="664528"/>
                    <a:pt x="108052" y="665243"/>
                  </a:cubicBezTo>
                  <a:cubicBezTo>
                    <a:pt x="108765" y="665957"/>
                    <a:pt x="109478" y="666671"/>
                    <a:pt x="109478" y="667386"/>
                  </a:cubicBezTo>
                  <a:cubicBezTo>
                    <a:pt x="110191" y="668100"/>
                    <a:pt x="110905" y="669529"/>
                    <a:pt x="112331" y="670243"/>
                  </a:cubicBezTo>
                  <a:cubicBezTo>
                    <a:pt x="113044" y="671672"/>
                    <a:pt x="113044" y="672386"/>
                    <a:pt x="113757" y="673101"/>
                  </a:cubicBezTo>
                  <a:cubicBezTo>
                    <a:pt x="113757" y="673101"/>
                    <a:pt x="113757" y="673101"/>
                    <a:pt x="114470" y="673101"/>
                  </a:cubicBezTo>
                  <a:cubicBezTo>
                    <a:pt x="114470" y="673815"/>
                    <a:pt x="115183" y="674529"/>
                    <a:pt x="115183" y="674529"/>
                  </a:cubicBezTo>
                  <a:cubicBezTo>
                    <a:pt x="116609" y="675958"/>
                    <a:pt x="117322" y="677387"/>
                    <a:pt x="118749" y="678816"/>
                  </a:cubicBezTo>
                  <a:cubicBezTo>
                    <a:pt x="119462" y="679530"/>
                    <a:pt x="119462" y="680244"/>
                    <a:pt x="120175" y="680959"/>
                  </a:cubicBezTo>
                  <a:cubicBezTo>
                    <a:pt x="120888" y="682388"/>
                    <a:pt x="121601" y="683102"/>
                    <a:pt x="122314" y="683816"/>
                  </a:cubicBezTo>
                  <a:cubicBezTo>
                    <a:pt x="123027" y="684531"/>
                    <a:pt x="124453" y="685959"/>
                    <a:pt x="125167" y="686674"/>
                  </a:cubicBezTo>
                  <a:cubicBezTo>
                    <a:pt x="125880" y="687388"/>
                    <a:pt x="125880" y="688103"/>
                    <a:pt x="126593" y="688817"/>
                  </a:cubicBezTo>
                  <a:cubicBezTo>
                    <a:pt x="127306" y="689531"/>
                    <a:pt x="127306" y="690246"/>
                    <a:pt x="128019" y="690246"/>
                  </a:cubicBezTo>
                  <a:cubicBezTo>
                    <a:pt x="128732" y="690960"/>
                    <a:pt x="130158" y="691674"/>
                    <a:pt x="130871" y="693103"/>
                  </a:cubicBezTo>
                  <a:cubicBezTo>
                    <a:pt x="131584" y="693818"/>
                    <a:pt x="133011" y="695246"/>
                    <a:pt x="133724" y="696675"/>
                  </a:cubicBezTo>
                  <a:cubicBezTo>
                    <a:pt x="134437" y="697389"/>
                    <a:pt x="135863" y="698818"/>
                    <a:pt x="136576" y="699533"/>
                  </a:cubicBezTo>
                  <a:cubicBezTo>
                    <a:pt x="138002" y="700961"/>
                    <a:pt x="138715" y="701676"/>
                    <a:pt x="140142" y="703104"/>
                  </a:cubicBezTo>
                  <a:cubicBezTo>
                    <a:pt x="141568" y="704533"/>
                    <a:pt x="142994" y="706676"/>
                    <a:pt x="145133" y="708105"/>
                  </a:cubicBezTo>
                  <a:cubicBezTo>
                    <a:pt x="145847" y="709534"/>
                    <a:pt x="147273" y="710248"/>
                    <a:pt x="147986" y="711677"/>
                  </a:cubicBezTo>
                  <a:cubicBezTo>
                    <a:pt x="149412" y="712391"/>
                    <a:pt x="150125" y="713820"/>
                    <a:pt x="151551" y="714534"/>
                  </a:cubicBezTo>
                  <a:cubicBezTo>
                    <a:pt x="152264" y="715963"/>
                    <a:pt x="152978" y="716678"/>
                    <a:pt x="154404" y="717392"/>
                  </a:cubicBezTo>
                  <a:cubicBezTo>
                    <a:pt x="155117" y="718821"/>
                    <a:pt x="156543" y="719535"/>
                    <a:pt x="157256" y="720964"/>
                  </a:cubicBezTo>
                  <a:cubicBezTo>
                    <a:pt x="158682" y="721678"/>
                    <a:pt x="159395" y="722393"/>
                    <a:pt x="160822" y="723821"/>
                  </a:cubicBezTo>
                  <a:cubicBezTo>
                    <a:pt x="161535" y="724536"/>
                    <a:pt x="162961" y="725964"/>
                    <a:pt x="163674" y="726679"/>
                  </a:cubicBezTo>
                  <a:cubicBezTo>
                    <a:pt x="165100" y="727393"/>
                    <a:pt x="165813" y="728822"/>
                    <a:pt x="167240" y="729536"/>
                  </a:cubicBezTo>
                  <a:cubicBezTo>
                    <a:pt x="169379" y="730965"/>
                    <a:pt x="171518" y="733108"/>
                    <a:pt x="173657" y="735251"/>
                  </a:cubicBezTo>
                  <a:cubicBezTo>
                    <a:pt x="174371" y="735966"/>
                    <a:pt x="175084" y="736680"/>
                    <a:pt x="176510" y="737394"/>
                  </a:cubicBezTo>
                  <a:cubicBezTo>
                    <a:pt x="177223" y="738823"/>
                    <a:pt x="178649" y="739538"/>
                    <a:pt x="180075" y="740252"/>
                  </a:cubicBezTo>
                  <a:cubicBezTo>
                    <a:pt x="180788" y="740966"/>
                    <a:pt x="182215" y="742395"/>
                    <a:pt x="182928" y="743109"/>
                  </a:cubicBezTo>
                  <a:cubicBezTo>
                    <a:pt x="184354" y="743824"/>
                    <a:pt x="185780" y="745253"/>
                    <a:pt x="186493" y="745967"/>
                  </a:cubicBezTo>
                  <a:cubicBezTo>
                    <a:pt x="187919" y="746681"/>
                    <a:pt x="188633" y="747396"/>
                    <a:pt x="190059" y="748110"/>
                  </a:cubicBezTo>
                  <a:cubicBezTo>
                    <a:pt x="190772" y="748824"/>
                    <a:pt x="192198" y="750253"/>
                    <a:pt x="193624" y="750968"/>
                  </a:cubicBezTo>
                  <a:cubicBezTo>
                    <a:pt x="194337" y="751682"/>
                    <a:pt x="195051" y="752396"/>
                    <a:pt x="196477" y="753111"/>
                  </a:cubicBezTo>
                  <a:cubicBezTo>
                    <a:pt x="198616" y="755254"/>
                    <a:pt x="201468" y="756683"/>
                    <a:pt x="204321" y="758826"/>
                  </a:cubicBezTo>
                  <a:cubicBezTo>
                    <a:pt x="205034" y="759540"/>
                    <a:pt x="205747" y="760254"/>
                    <a:pt x="207173" y="760254"/>
                  </a:cubicBezTo>
                  <a:cubicBezTo>
                    <a:pt x="208599" y="761683"/>
                    <a:pt x="210026" y="762398"/>
                    <a:pt x="211452" y="763112"/>
                  </a:cubicBezTo>
                  <a:cubicBezTo>
                    <a:pt x="212165" y="763826"/>
                    <a:pt x="212878" y="764541"/>
                    <a:pt x="214304" y="765255"/>
                  </a:cubicBezTo>
                  <a:cubicBezTo>
                    <a:pt x="215730" y="765969"/>
                    <a:pt x="217157" y="767398"/>
                    <a:pt x="218583" y="768113"/>
                  </a:cubicBezTo>
                  <a:cubicBezTo>
                    <a:pt x="219296" y="768827"/>
                    <a:pt x="220009" y="769541"/>
                    <a:pt x="221435" y="770256"/>
                  </a:cubicBezTo>
                  <a:cubicBezTo>
                    <a:pt x="222861" y="770970"/>
                    <a:pt x="224288" y="771684"/>
                    <a:pt x="225714" y="772399"/>
                  </a:cubicBezTo>
                  <a:cubicBezTo>
                    <a:pt x="225714" y="773113"/>
                    <a:pt x="225714" y="773113"/>
                    <a:pt x="226427" y="773113"/>
                  </a:cubicBezTo>
                  <a:cubicBezTo>
                    <a:pt x="229992" y="775256"/>
                    <a:pt x="233558" y="777399"/>
                    <a:pt x="237124" y="779543"/>
                  </a:cubicBezTo>
                  <a:cubicBezTo>
                    <a:pt x="237837" y="779543"/>
                    <a:pt x="238550" y="780257"/>
                    <a:pt x="239976" y="780971"/>
                  </a:cubicBezTo>
                  <a:cubicBezTo>
                    <a:pt x="241402" y="781686"/>
                    <a:pt x="242828" y="782400"/>
                    <a:pt x="244255" y="783114"/>
                  </a:cubicBezTo>
                  <a:cubicBezTo>
                    <a:pt x="245681" y="783829"/>
                    <a:pt x="246394" y="784543"/>
                    <a:pt x="247107" y="784543"/>
                  </a:cubicBezTo>
                  <a:cubicBezTo>
                    <a:pt x="248533" y="785972"/>
                    <a:pt x="250672" y="786686"/>
                    <a:pt x="252099" y="787401"/>
                  </a:cubicBezTo>
                  <a:cubicBezTo>
                    <a:pt x="252812" y="788115"/>
                    <a:pt x="254238" y="788115"/>
                    <a:pt x="254951" y="788829"/>
                  </a:cubicBezTo>
                  <a:cubicBezTo>
                    <a:pt x="260656" y="791687"/>
                    <a:pt x="264934" y="793830"/>
                    <a:pt x="270639" y="796688"/>
                  </a:cubicBezTo>
                  <a:cubicBezTo>
                    <a:pt x="272065" y="796688"/>
                    <a:pt x="272779" y="797402"/>
                    <a:pt x="273492" y="798116"/>
                  </a:cubicBezTo>
                  <a:cubicBezTo>
                    <a:pt x="275631" y="798831"/>
                    <a:pt x="277057" y="799545"/>
                    <a:pt x="278483" y="800259"/>
                  </a:cubicBezTo>
                  <a:cubicBezTo>
                    <a:pt x="279910" y="800259"/>
                    <a:pt x="280623" y="800974"/>
                    <a:pt x="282049" y="800974"/>
                  </a:cubicBezTo>
                  <a:cubicBezTo>
                    <a:pt x="283475" y="801688"/>
                    <a:pt x="284901" y="802403"/>
                    <a:pt x="287041" y="803117"/>
                  </a:cubicBezTo>
                  <a:cubicBezTo>
                    <a:pt x="287754" y="803831"/>
                    <a:pt x="288467" y="803831"/>
                    <a:pt x="289893" y="804546"/>
                  </a:cubicBezTo>
                  <a:cubicBezTo>
                    <a:pt x="293459" y="805974"/>
                    <a:pt x="297737" y="807403"/>
                    <a:pt x="302016" y="808832"/>
                  </a:cubicBezTo>
                  <a:cubicBezTo>
                    <a:pt x="342663" y="822405"/>
                    <a:pt x="386162" y="830263"/>
                    <a:pt x="431800" y="830263"/>
                  </a:cubicBezTo>
                  <a:cubicBezTo>
                    <a:pt x="477439" y="830263"/>
                    <a:pt x="520938" y="822405"/>
                    <a:pt x="561585" y="808832"/>
                  </a:cubicBezTo>
                  <a:cubicBezTo>
                    <a:pt x="565863" y="807403"/>
                    <a:pt x="570142" y="805974"/>
                    <a:pt x="573707" y="804546"/>
                  </a:cubicBezTo>
                  <a:cubicBezTo>
                    <a:pt x="575134" y="803831"/>
                    <a:pt x="575847" y="803831"/>
                    <a:pt x="576560" y="803117"/>
                  </a:cubicBezTo>
                  <a:cubicBezTo>
                    <a:pt x="578699" y="802403"/>
                    <a:pt x="580125" y="801688"/>
                    <a:pt x="581552" y="800974"/>
                  </a:cubicBezTo>
                  <a:cubicBezTo>
                    <a:pt x="582978" y="800974"/>
                    <a:pt x="583691" y="800259"/>
                    <a:pt x="585117" y="800259"/>
                  </a:cubicBezTo>
                  <a:cubicBezTo>
                    <a:pt x="586543" y="799545"/>
                    <a:pt x="587969" y="798831"/>
                    <a:pt x="590109" y="798116"/>
                  </a:cubicBezTo>
                  <a:cubicBezTo>
                    <a:pt x="590822" y="797402"/>
                    <a:pt x="591535" y="796688"/>
                    <a:pt x="592961" y="796688"/>
                  </a:cubicBezTo>
                  <a:cubicBezTo>
                    <a:pt x="598666" y="793830"/>
                    <a:pt x="602945" y="791687"/>
                    <a:pt x="608649" y="788829"/>
                  </a:cubicBezTo>
                  <a:cubicBezTo>
                    <a:pt x="609363" y="788115"/>
                    <a:pt x="610789" y="788115"/>
                    <a:pt x="611502" y="787401"/>
                  </a:cubicBezTo>
                  <a:cubicBezTo>
                    <a:pt x="612928" y="786686"/>
                    <a:pt x="615067" y="785972"/>
                    <a:pt x="616494" y="784543"/>
                  </a:cubicBezTo>
                  <a:cubicBezTo>
                    <a:pt x="617207" y="784543"/>
                    <a:pt x="617920" y="783829"/>
                    <a:pt x="619346" y="783114"/>
                  </a:cubicBezTo>
                  <a:cubicBezTo>
                    <a:pt x="620772" y="782400"/>
                    <a:pt x="622198" y="781686"/>
                    <a:pt x="623625" y="780971"/>
                  </a:cubicBezTo>
                  <a:cubicBezTo>
                    <a:pt x="625051" y="780257"/>
                    <a:pt x="625764" y="779543"/>
                    <a:pt x="626477" y="779543"/>
                  </a:cubicBezTo>
                  <a:cubicBezTo>
                    <a:pt x="630042" y="777399"/>
                    <a:pt x="633608" y="775256"/>
                    <a:pt x="637173" y="773113"/>
                  </a:cubicBezTo>
                  <a:cubicBezTo>
                    <a:pt x="637887" y="773113"/>
                    <a:pt x="637887" y="773113"/>
                    <a:pt x="637887" y="772399"/>
                  </a:cubicBezTo>
                  <a:cubicBezTo>
                    <a:pt x="639313" y="771684"/>
                    <a:pt x="640739" y="770970"/>
                    <a:pt x="642165" y="770256"/>
                  </a:cubicBezTo>
                  <a:cubicBezTo>
                    <a:pt x="643591" y="769541"/>
                    <a:pt x="644304" y="768827"/>
                    <a:pt x="645018" y="768113"/>
                  </a:cubicBezTo>
                  <a:cubicBezTo>
                    <a:pt x="646444" y="767398"/>
                    <a:pt x="647870" y="765969"/>
                    <a:pt x="649296" y="765255"/>
                  </a:cubicBezTo>
                  <a:cubicBezTo>
                    <a:pt x="650722" y="764541"/>
                    <a:pt x="651436" y="763826"/>
                    <a:pt x="652149" y="763112"/>
                  </a:cubicBezTo>
                  <a:cubicBezTo>
                    <a:pt x="653575" y="762398"/>
                    <a:pt x="655001" y="761683"/>
                    <a:pt x="656427" y="760254"/>
                  </a:cubicBezTo>
                  <a:cubicBezTo>
                    <a:pt x="657853" y="760254"/>
                    <a:pt x="658567" y="759540"/>
                    <a:pt x="659280" y="758826"/>
                  </a:cubicBezTo>
                  <a:cubicBezTo>
                    <a:pt x="662132" y="756683"/>
                    <a:pt x="664984" y="755254"/>
                    <a:pt x="667124" y="753111"/>
                  </a:cubicBezTo>
                  <a:cubicBezTo>
                    <a:pt x="668550" y="752396"/>
                    <a:pt x="669263" y="751682"/>
                    <a:pt x="669976" y="750968"/>
                  </a:cubicBezTo>
                  <a:cubicBezTo>
                    <a:pt x="671402" y="750253"/>
                    <a:pt x="672829" y="748824"/>
                    <a:pt x="673542" y="748110"/>
                  </a:cubicBezTo>
                  <a:cubicBezTo>
                    <a:pt x="674968" y="747396"/>
                    <a:pt x="675681" y="746681"/>
                    <a:pt x="677107" y="745967"/>
                  </a:cubicBezTo>
                  <a:cubicBezTo>
                    <a:pt x="677820" y="745253"/>
                    <a:pt x="679246" y="743824"/>
                    <a:pt x="680673" y="743109"/>
                  </a:cubicBezTo>
                  <a:cubicBezTo>
                    <a:pt x="681386" y="742395"/>
                    <a:pt x="682812" y="740966"/>
                    <a:pt x="683525" y="740252"/>
                  </a:cubicBezTo>
                  <a:cubicBezTo>
                    <a:pt x="684951" y="739538"/>
                    <a:pt x="686377" y="738823"/>
                    <a:pt x="687091" y="737394"/>
                  </a:cubicBezTo>
                  <a:cubicBezTo>
                    <a:pt x="688517" y="736680"/>
                    <a:pt x="689230" y="735966"/>
                    <a:pt x="689943" y="735251"/>
                  </a:cubicBezTo>
                  <a:cubicBezTo>
                    <a:pt x="692082" y="733108"/>
                    <a:pt x="694222" y="730965"/>
                    <a:pt x="696361" y="729536"/>
                  </a:cubicBezTo>
                  <a:cubicBezTo>
                    <a:pt x="697787" y="728822"/>
                    <a:pt x="698500" y="727393"/>
                    <a:pt x="699926" y="726679"/>
                  </a:cubicBezTo>
                  <a:cubicBezTo>
                    <a:pt x="700640" y="725964"/>
                    <a:pt x="702066" y="724536"/>
                    <a:pt x="702779" y="723821"/>
                  </a:cubicBezTo>
                  <a:cubicBezTo>
                    <a:pt x="704205" y="722393"/>
                    <a:pt x="704918" y="721678"/>
                    <a:pt x="706344" y="720964"/>
                  </a:cubicBezTo>
                  <a:cubicBezTo>
                    <a:pt x="707057" y="719535"/>
                    <a:pt x="708484" y="718821"/>
                    <a:pt x="709197" y="717392"/>
                  </a:cubicBezTo>
                  <a:cubicBezTo>
                    <a:pt x="710623" y="716678"/>
                    <a:pt x="711336" y="715963"/>
                    <a:pt x="712049" y="714534"/>
                  </a:cubicBezTo>
                  <a:cubicBezTo>
                    <a:pt x="713475" y="713820"/>
                    <a:pt x="714188" y="712391"/>
                    <a:pt x="715615" y="711677"/>
                  </a:cubicBezTo>
                  <a:cubicBezTo>
                    <a:pt x="716328" y="710248"/>
                    <a:pt x="717754" y="709534"/>
                    <a:pt x="718467" y="708105"/>
                  </a:cubicBezTo>
                  <a:cubicBezTo>
                    <a:pt x="720606" y="706676"/>
                    <a:pt x="722033" y="704533"/>
                    <a:pt x="723459" y="703104"/>
                  </a:cubicBezTo>
                  <a:cubicBezTo>
                    <a:pt x="724885" y="701676"/>
                    <a:pt x="725598" y="700961"/>
                    <a:pt x="727024" y="699533"/>
                  </a:cubicBezTo>
                  <a:cubicBezTo>
                    <a:pt x="727737" y="698818"/>
                    <a:pt x="729164" y="697389"/>
                    <a:pt x="729877" y="696675"/>
                  </a:cubicBezTo>
                  <a:cubicBezTo>
                    <a:pt x="730590" y="695246"/>
                    <a:pt x="732016" y="693818"/>
                    <a:pt x="732729" y="693103"/>
                  </a:cubicBezTo>
                  <a:cubicBezTo>
                    <a:pt x="733442" y="691674"/>
                    <a:pt x="734868" y="690960"/>
                    <a:pt x="735582" y="690246"/>
                  </a:cubicBezTo>
                  <a:cubicBezTo>
                    <a:pt x="736295" y="690246"/>
                    <a:pt x="736295" y="689531"/>
                    <a:pt x="737008" y="688817"/>
                  </a:cubicBezTo>
                  <a:cubicBezTo>
                    <a:pt x="737721" y="688103"/>
                    <a:pt x="737721" y="687388"/>
                    <a:pt x="738434" y="686674"/>
                  </a:cubicBezTo>
                  <a:cubicBezTo>
                    <a:pt x="739147" y="685959"/>
                    <a:pt x="740573" y="684531"/>
                    <a:pt x="741286" y="683816"/>
                  </a:cubicBezTo>
                  <a:cubicBezTo>
                    <a:pt x="741999" y="683102"/>
                    <a:pt x="742713" y="682388"/>
                    <a:pt x="743426" y="680959"/>
                  </a:cubicBezTo>
                  <a:cubicBezTo>
                    <a:pt x="744139" y="680244"/>
                    <a:pt x="744139" y="679530"/>
                    <a:pt x="744852" y="678816"/>
                  </a:cubicBezTo>
                  <a:cubicBezTo>
                    <a:pt x="746278" y="677387"/>
                    <a:pt x="746991" y="675958"/>
                    <a:pt x="748417" y="674529"/>
                  </a:cubicBezTo>
                  <a:cubicBezTo>
                    <a:pt x="748417" y="674529"/>
                    <a:pt x="749130" y="673815"/>
                    <a:pt x="749130" y="673101"/>
                  </a:cubicBezTo>
                  <a:cubicBezTo>
                    <a:pt x="749130" y="673101"/>
                    <a:pt x="749130" y="673101"/>
                    <a:pt x="749844" y="673101"/>
                  </a:cubicBezTo>
                  <a:cubicBezTo>
                    <a:pt x="750557" y="672386"/>
                    <a:pt x="750557" y="671672"/>
                    <a:pt x="751270" y="670243"/>
                  </a:cubicBezTo>
                  <a:cubicBezTo>
                    <a:pt x="752696" y="669529"/>
                    <a:pt x="753409" y="668100"/>
                    <a:pt x="754122" y="667386"/>
                  </a:cubicBezTo>
                  <a:cubicBezTo>
                    <a:pt x="754122" y="666671"/>
                    <a:pt x="754835" y="665957"/>
                    <a:pt x="755548" y="665243"/>
                  </a:cubicBezTo>
                  <a:cubicBezTo>
                    <a:pt x="756261" y="664528"/>
                    <a:pt x="756261" y="663814"/>
                    <a:pt x="756975" y="663814"/>
                  </a:cubicBezTo>
                  <a:cubicBezTo>
                    <a:pt x="757688" y="662385"/>
                    <a:pt x="758401" y="660956"/>
                    <a:pt x="759114" y="660242"/>
                  </a:cubicBezTo>
                  <a:cubicBezTo>
                    <a:pt x="759827" y="659528"/>
                    <a:pt x="760540" y="658099"/>
                    <a:pt x="761253" y="657384"/>
                  </a:cubicBezTo>
                  <a:cubicBezTo>
                    <a:pt x="761253" y="656670"/>
                    <a:pt x="761966" y="656670"/>
                    <a:pt x="761966" y="655956"/>
                  </a:cubicBezTo>
                  <a:cubicBezTo>
                    <a:pt x="762679" y="655241"/>
                    <a:pt x="763392" y="653813"/>
                    <a:pt x="764106" y="653098"/>
                  </a:cubicBezTo>
                  <a:cubicBezTo>
                    <a:pt x="764819" y="651669"/>
                    <a:pt x="766245" y="650241"/>
                    <a:pt x="766958" y="648812"/>
                  </a:cubicBezTo>
                  <a:cubicBezTo>
                    <a:pt x="767671" y="648098"/>
                    <a:pt x="768384" y="646669"/>
                    <a:pt x="768384" y="645954"/>
                  </a:cubicBezTo>
                  <a:cubicBezTo>
                    <a:pt x="769097" y="645240"/>
                    <a:pt x="769810" y="644526"/>
                    <a:pt x="770523" y="643811"/>
                  </a:cubicBezTo>
                  <a:cubicBezTo>
                    <a:pt x="771237" y="642383"/>
                    <a:pt x="771237" y="641668"/>
                    <a:pt x="771950" y="640239"/>
                  </a:cubicBezTo>
                  <a:cubicBezTo>
                    <a:pt x="772663" y="639525"/>
                    <a:pt x="772663" y="638811"/>
                    <a:pt x="773376" y="638811"/>
                  </a:cubicBezTo>
                  <a:cubicBezTo>
                    <a:pt x="774089" y="637382"/>
                    <a:pt x="774802" y="636668"/>
                    <a:pt x="775515" y="635239"/>
                  </a:cubicBezTo>
                  <a:cubicBezTo>
                    <a:pt x="776228" y="633810"/>
                    <a:pt x="776941" y="633096"/>
                    <a:pt x="777654" y="631667"/>
                  </a:cubicBezTo>
                  <a:cubicBezTo>
                    <a:pt x="777654" y="630953"/>
                    <a:pt x="777654" y="630953"/>
                    <a:pt x="777654" y="630953"/>
                  </a:cubicBezTo>
                  <a:cubicBezTo>
                    <a:pt x="778368" y="629524"/>
                    <a:pt x="779081" y="628809"/>
                    <a:pt x="779794" y="627381"/>
                  </a:cubicBezTo>
                  <a:cubicBezTo>
                    <a:pt x="780507" y="626666"/>
                    <a:pt x="781220" y="625238"/>
                    <a:pt x="781933" y="624523"/>
                  </a:cubicBezTo>
                  <a:cubicBezTo>
                    <a:pt x="781933" y="623809"/>
                    <a:pt x="781933" y="623809"/>
                    <a:pt x="781933" y="623094"/>
                  </a:cubicBezTo>
                  <a:cubicBezTo>
                    <a:pt x="782646" y="623094"/>
                    <a:pt x="782646" y="623094"/>
                    <a:pt x="782646" y="623094"/>
                  </a:cubicBezTo>
                  <a:cubicBezTo>
                    <a:pt x="782646" y="621666"/>
                    <a:pt x="783359" y="620951"/>
                    <a:pt x="784072" y="620237"/>
                  </a:cubicBezTo>
                  <a:cubicBezTo>
                    <a:pt x="784786" y="618808"/>
                    <a:pt x="785499" y="617379"/>
                    <a:pt x="785499" y="616665"/>
                  </a:cubicBezTo>
                  <a:cubicBezTo>
                    <a:pt x="786212" y="615951"/>
                    <a:pt x="786212" y="615236"/>
                    <a:pt x="786925" y="615236"/>
                  </a:cubicBezTo>
                  <a:cubicBezTo>
                    <a:pt x="786925" y="614522"/>
                    <a:pt x="787638" y="613093"/>
                    <a:pt x="788351" y="612379"/>
                  </a:cubicBezTo>
                  <a:cubicBezTo>
                    <a:pt x="788351" y="611664"/>
                    <a:pt x="789064" y="610950"/>
                    <a:pt x="789064" y="610236"/>
                  </a:cubicBezTo>
                  <a:cubicBezTo>
                    <a:pt x="789777" y="609521"/>
                    <a:pt x="789777" y="608807"/>
                    <a:pt x="789777" y="608807"/>
                  </a:cubicBezTo>
                  <a:cubicBezTo>
                    <a:pt x="790490" y="608093"/>
                    <a:pt x="790490" y="607378"/>
                    <a:pt x="791203" y="606664"/>
                  </a:cubicBezTo>
                  <a:cubicBezTo>
                    <a:pt x="791203" y="605949"/>
                    <a:pt x="791917" y="605235"/>
                    <a:pt x="791917" y="604521"/>
                  </a:cubicBezTo>
                  <a:cubicBezTo>
                    <a:pt x="792630" y="603806"/>
                    <a:pt x="792630" y="602378"/>
                    <a:pt x="793343" y="601663"/>
                  </a:cubicBezTo>
                  <a:cubicBezTo>
                    <a:pt x="793343" y="600949"/>
                    <a:pt x="794056" y="600949"/>
                    <a:pt x="794056" y="600234"/>
                  </a:cubicBezTo>
                  <a:cubicBezTo>
                    <a:pt x="794056" y="599520"/>
                    <a:pt x="794769" y="598806"/>
                    <a:pt x="794769" y="598091"/>
                  </a:cubicBezTo>
                  <a:cubicBezTo>
                    <a:pt x="795482" y="597377"/>
                    <a:pt x="795482" y="597377"/>
                    <a:pt x="795482" y="596663"/>
                  </a:cubicBezTo>
                  <a:cubicBezTo>
                    <a:pt x="796195" y="595234"/>
                    <a:pt x="796908" y="594519"/>
                    <a:pt x="797621" y="593091"/>
                  </a:cubicBezTo>
                  <a:cubicBezTo>
                    <a:pt x="797621" y="593091"/>
                    <a:pt x="797621" y="593091"/>
                    <a:pt x="797621" y="592376"/>
                  </a:cubicBezTo>
                  <a:cubicBezTo>
                    <a:pt x="798334" y="591662"/>
                    <a:pt x="798334" y="590948"/>
                    <a:pt x="799048" y="590233"/>
                  </a:cubicBezTo>
                  <a:cubicBezTo>
                    <a:pt x="799048" y="588804"/>
                    <a:pt x="799048" y="588090"/>
                    <a:pt x="799761" y="587376"/>
                  </a:cubicBezTo>
                  <a:cubicBezTo>
                    <a:pt x="799761" y="586661"/>
                    <a:pt x="800474" y="585947"/>
                    <a:pt x="800474" y="585233"/>
                  </a:cubicBezTo>
                  <a:cubicBezTo>
                    <a:pt x="801187" y="584518"/>
                    <a:pt x="801187" y="583804"/>
                    <a:pt x="801187" y="583804"/>
                  </a:cubicBezTo>
                  <a:cubicBezTo>
                    <a:pt x="801900" y="583089"/>
                    <a:pt x="801900" y="582375"/>
                    <a:pt x="802613" y="581661"/>
                  </a:cubicBezTo>
                  <a:cubicBezTo>
                    <a:pt x="802613" y="580232"/>
                    <a:pt x="803326" y="578803"/>
                    <a:pt x="804039" y="576660"/>
                  </a:cubicBezTo>
                  <a:cubicBezTo>
                    <a:pt x="804039" y="575946"/>
                    <a:pt x="804752" y="575946"/>
                    <a:pt x="804752" y="575231"/>
                  </a:cubicBezTo>
                  <a:cubicBezTo>
                    <a:pt x="804752" y="574517"/>
                    <a:pt x="804752" y="574517"/>
                    <a:pt x="804752" y="574517"/>
                  </a:cubicBezTo>
                  <a:cubicBezTo>
                    <a:pt x="805465" y="573803"/>
                    <a:pt x="805465" y="573803"/>
                    <a:pt x="805465" y="573088"/>
                  </a:cubicBezTo>
                  <a:cubicBezTo>
                    <a:pt x="806179" y="571659"/>
                    <a:pt x="806892" y="570231"/>
                    <a:pt x="807605" y="569516"/>
                  </a:cubicBezTo>
                  <a:cubicBezTo>
                    <a:pt x="807605" y="568802"/>
                    <a:pt x="807605" y="567373"/>
                    <a:pt x="808318" y="566659"/>
                  </a:cubicBezTo>
                  <a:cubicBezTo>
                    <a:pt x="808318" y="566659"/>
                    <a:pt x="808318" y="566659"/>
                    <a:pt x="808318" y="565944"/>
                  </a:cubicBezTo>
                  <a:cubicBezTo>
                    <a:pt x="809031" y="564516"/>
                    <a:pt x="809744" y="562373"/>
                    <a:pt x="810457" y="560944"/>
                  </a:cubicBezTo>
                  <a:cubicBezTo>
                    <a:pt x="810457" y="560229"/>
                    <a:pt x="810457" y="559515"/>
                    <a:pt x="811170" y="559515"/>
                  </a:cubicBezTo>
                  <a:cubicBezTo>
                    <a:pt x="811170" y="558801"/>
                    <a:pt x="811170" y="558801"/>
                    <a:pt x="811170" y="558086"/>
                  </a:cubicBezTo>
                  <a:cubicBezTo>
                    <a:pt x="811170" y="557372"/>
                    <a:pt x="811170" y="557372"/>
                    <a:pt x="811170" y="557372"/>
                  </a:cubicBezTo>
                  <a:cubicBezTo>
                    <a:pt x="811883" y="555229"/>
                    <a:pt x="812596" y="553086"/>
                    <a:pt x="813310" y="550943"/>
                  </a:cubicBezTo>
                  <a:cubicBezTo>
                    <a:pt x="814023" y="550228"/>
                    <a:pt x="814023" y="549514"/>
                    <a:pt x="814023" y="548799"/>
                  </a:cubicBezTo>
                  <a:cubicBezTo>
                    <a:pt x="814736" y="546656"/>
                    <a:pt x="815449" y="544513"/>
                    <a:pt x="816162" y="542370"/>
                  </a:cubicBezTo>
                  <a:cubicBezTo>
                    <a:pt x="816162" y="542370"/>
                    <a:pt x="816162" y="541656"/>
                    <a:pt x="816875" y="540941"/>
                  </a:cubicBezTo>
                  <a:cubicBezTo>
                    <a:pt x="816875" y="540227"/>
                    <a:pt x="816875" y="540227"/>
                    <a:pt x="816875" y="540227"/>
                  </a:cubicBezTo>
                  <a:cubicBezTo>
                    <a:pt x="816875" y="539513"/>
                    <a:pt x="817588" y="538798"/>
                    <a:pt x="817588" y="538084"/>
                  </a:cubicBezTo>
                  <a:cubicBezTo>
                    <a:pt x="817588" y="536655"/>
                    <a:pt x="818301" y="535941"/>
                    <a:pt x="818301" y="535226"/>
                  </a:cubicBezTo>
                  <a:cubicBezTo>
                    <a:pt x="818301" y="533798"/>
                    <a:pt x="819014" y="533083"/>
                    <a:pt x="819014" y="531654"/>
                  </a:cubicBezTo>
                  <a:cubicBezTo>
                    <a:pt x="819727" y="530226"/>
                    <a:pt x="819727" y="529511"/>
                    <a:pt x="819727" y="528797"/>
                  </a:cubicBezTo>
                  <a:cubicBezTo>
                    <a:pt x="820441" y="528083"/>
                    <a:pt x="820441" y="526654"/>
                    <a:pt x="820441" y="525939"/>
                  </a:cubicBezTo>
                  <a:cubicBezTo>
                    <a:pt x="821154" y="525225"/>
                    <a:pt x="821154" y="523796"/>
                    <a:pt x="821154" y="522368"/>
                  </a:cubicBezTo>
                  <a:cubicBezTo>
                    <a:pt x="821154" y="522368"/>
                    <a:pt x="821154" y="522368"/>
                    <a:pt x="821867" y="522368"/>
                  </a:cubicBezTo>
                  <a:cubicBezTo>
                    <a:pt x="821867" y="520939"/>
                    <a:pt x="821867" y="520224"/>
                    <a:pt x="821867" y="519510"/>
                  </a:cubicBezTo>
                  <a:cubicBezTo>
                    <a:pt x="822580" y="518796"/>
                    <a:pt x="822580" y="518081"/>
                    <a:pt x="822580" y="517367"/>
                  </a:cubicBezTo>
                  <a:cubicBezTo>
                    <a:pt x="823293" y="515938"/>
                    <a:pt x="823293" y="513795"/>
                    <a:pt x="823293" y="512366"/>
                  </a:cubicBezTo>
                  <a:cubicBezTo>
                    <a:pt x="824006" y="512366"/>
                    <a:pt x="824006" y="512366"/>
                    <a:pt x="824006" y="512366"/>
                  </a:cubicBezTo>
                  <a:cubicBezTo>
                    <a:pt x="824006" y="511652"/>
                    <a:pt x="824006" y="510938"/>
                    <a:pt x="824006" y="510938"/>
                  </a:cubicBezTo>
                  <a:cubicBezTo>
                    <a:pt x="824006" y="509509"/>
                    <a:pt x="824719" y="508794"/>
                    <a:pt x="824719" y="508080"/>
                  </a:cubicBezTo>
                  <a:cubicBezTo>
                    <a:pt x="824719" y="505937"/>
                    <a:pt x="825432" y="504508"/>
                    <a:pt x="825432" y="503079"/>
                  </a:cubicBezTo>
                  <a:cubicBezTo>
                    <a:pt x="825432" y="502365"/>
                    <a:pt x="825432" y="502365"/>
                    <a:pt x="825432" y="501651"/>
                  </a:cubicBezTo>
                  <a:cubicBezTo>
                    <a:pt x="826145" y="500936"/>
                    <a:pt x="826145" y="500222"/>
                    <a:pt x="826145" y="498793"/>
                  </a:cubicBezTo>
                  <a:cubicBezTo>
                    <a:pt x="826145" y="498793"/>
                    <a:pt x="826145" y="498793"/>
                    <a:pt x="826145" y="498079"/>
                  </a:cubicBezTo>
                  <a:cubicBezTo>
                    <a:pt x="826859" y="496650"/>
                    <a:pt x="826859" y="495221"/>
                    <a:pt x="826859" y="493793"/>
                  </a:cubicBezTo>
                  <a:cubicBezTo>
                    <a:pt x="826859" y="493078"/>
                    <a:pt x="827572" y="493078"/>
                    <a:pt x="827572" y="492364"/>
                  </a:cubicBezTo>
                  <a:cubicBezTo>
                    <a:pt x="827572" y="491649"/>
                    <a:pt x="827572" y="490221"/>
                    <a:pt x="827572" y="489506"/>
                  </a:cubicBezTo>
                  <a:cubicBezTo>
                    <a:pt x="827572" y="489506"/>
                    <a:pt x="827572" y="489506"/>
                    <a:pt x="827572" y="488792"/>
                  </a:cubicBezTo>
                  <a:cubicBezTo>
                    <a:pt x="828285" y="488078"/>
                    <a:pt x="828285" y="487363"/>
                    <a:pt x="828285" y="485934"/>
                  </a:cubicBezTo>
                  <a:cubicBezTo>
                    <a:pt x="828285" y="485220"/>
                    <a:pt x="828285" y="484506"/>
                    <a:pt x="828285" y="483791"/>
                  </a:cubicBezTo>
                  <a:cubicBezTo>
                    <a:pt x="828285" y="483791"/>
                    <a:pt x="828285" y="483791"/>
                    <a:pt x="828998" y="483077"/>
                  </a:cubicBezTo>
                  <a:cubicBezTo>
                    <a:pt x="828998" y="482363"/>
                    <a:pt x="828998" y="480934"/>
                    <a:pt x="828998" y="480219"/>
                  </a:cubicBezTo>
                  <a:cubicBezTo>
                    <a:pt x="828998" y="479505"/>
                    <a:pt x="828998" y="479505"/>
                    <a:pt x="828998" y="479505"/>
                  </a:cubicBezTo>
                  <a:cubicBezTo>
                    <a:pt x="829711" y="477362"/>
                    <a:pt x="829711" y="475933"/>
                    <a:pt x="829711" y="473790"/>
                  </a:cubicBezTo>
                  <a:cubicBezTo>
                    <a:pt x="829711" y="473076"/>
                    <a:pt x="829711" y="472361"/>
                    <a:pt x="829711" y="471647"/>
                  </a:cubicBezTo>
                  <a:cubicBezTo>
                    <a:pt x="829711" y="471647"/>
                    <a:pt x="829711" y="471647"/>
                    <a:pt x="830424" y="470933"/>
                  </a:cubicBezTo>
                  <a:cubicBezTo>
                    <a:pt x="830424" y="470218"/>
                    <a:pt x="830424" y="470218"/>
                    <a:pt x="830424" y="469504"/>
                  </a:cubicBezTo>
                  <a:cubicBezTo>
                    <a:pt x="830424" y="467361"/>
                    <a:pt x="830424" y="465932"/>
                    <a:pt x="830424" y="463789"/>
                  </a:cubicBezTo>
                  <a:cubicBezTo>
                    <a:pt x="831137" y="463074"/>
                    <a:pt x="831137" y="462360"/>
                    <a:pt x="831137" y="461646"/>
                  </a:cubicBezTo>
                  <a:cubicBezTo>
                    <a:pt x="831137" y="460931"/>
                    <a:pt x="831137" y="460217"/>
                    <a:pt x="831137" y="459503"/>
                  </a:cubicBezTo>
                  <a:cubicBezTo>
                    <a:pt x="831137" y="459503"/>
                    <a:pt x="831137" y="459503"/>
                    <a:pt x="831137" y="458788"/>
                  </a:cubicBezTo>
                  <a:cubicBezTo>
                    <a:pt x="831137" y="457359"/>
                    <a:pt x="831137" y="455216"/>
                    <a:pt x="831137" y="453788"/>
                  </a:cubicBezTo>
                  <a:cubicBezTo>
                    <a:pt x="831137" y="453073"/>
                    <a:pt x="831850" y="453073"/>
                    <a:pt x="831850" y="452359"/>
                  </a:cubicBezTo>
                  <a:cubicBezTo>
                    <a:pt x="831850" y="451644"/>
                    <a:pt x="831850" y="450930"/>
                    <a:pt x="831850" y="450216"/>
                  </a:cubicBezTo>
                  <a:cubicBezTo>
                    <a:pt x="831850" y="449501"/>
                    <a:pt x="831850" y="449501"/>
                    <a:pt x="831850" y="448787"/>
                  </a:cubicBezTo>
                  <a:cubicBezTo>
                    <a:pt x="831850" y="447358"/>
                    <a:pt x="831850" y="445929"/>
                    <a:pt x="831850" y="443786"/>
                  </a:cubicBezTo>
                  <a:cubicBezTo>
                    <a:pt x="831850" y="443786"/>
                    <a:pt x="831850" y="443786"/>
                    <a:pt x="831850" y="443072"/>
                  </a:cubicBezTo>
                  <a:cubicBezTo>
                    <a:pt x="831850" y="442358"/>
                    <a:pt x="831850" y="441643"/>
                    <a:pt x="831850" y="440929"/>
                  </a:cubicBezTo>
                  <a:cubicBezTo>
                    <a:pt x="831850" y="440214"/>
                    <a:pt x="831850" y="440214"/>
                    <a:pt x="831850" y="440214"/>
                  </a:cubicBezTo>
                  <a:cubicBezTo>
                    <a:pt x="831850" y="436643"/>
                    <a:pt x="831850" y="433785"/>
                    <a:pt x="831850" y="430928"/>
                  </a:cubicBezTo>
                  <a:cubicBezTo>
                    <a:pt x="831850" y="210186"/>
                    <a:pt x="652149" y="30163"/>
                    <a:pt x="431800" y="30163"/>
                  </a:cubicBezTo>
                  <a:close/>
                  <a:moveTo>
                    <a:pt x="431800" y="0"/>
                  </a:moveTo>
                  <a:cubicBezTo>
                    <a:pt x="670277" y="0"/>
                    <a:pt x="863600" y="192613"/>
                    <a:pt x="863600" y="430213"/>
                  </a:cubicBezTo>
                  <a:cubicBezTo>
                    <a:pt x="863600" y="667813"/>
                    <a:pt x="670277" y="860426"/>
                    <a:pt x="431800" y="860426"/>
                  </a:cubicBezTo>
                  <a:cubicBezTo>
                    <a:pt x="193323" y="860426"/>
                    <a:pt x="0" y="667813"/>
                    <a:pt x="0" y="430213"/>
                  </a:cubicBezTo>
                  <a:cubicBezTo>
                    <a:pt x="0" y="192613"/>
                    <a:pt x="193323" y="0"/>
                    <a:pt x="431800" y="0"/>
                  </a:cubicBezTo>
                  <a:close/>
                </a:path>
              </a:pathLst>
            </a:custGeom>
            <a:solidFill>
              <a:srgbClr val="44546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472F0C7C-5FA2-48B2-8F5A-166E03EA0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075" y="3643313"/>
              <a:ext cx="830263" cy="331788"/>
            </a:xfrm>
            <a:custGeom>
              <a:avLst/>
              <a:gdLst>
                <a:gd name="T0" fmla="*/ 1162 w 1162"/>
                <a:gd name="T1" fmla="*/ 265 h 465"/>
                <a:gd name="T2" fmla="*/ 978 w 1162"/>
                <a:gd name="T3" fmla="*/ 115 h 465"/>
                <a:gd name="T4" fmla="*/ 1036 w 1162"/>
                <a:gd name="T5" fmla="*/ 2 h 465"/>
                <a:gd name="T6" fmla="*/ 1036 w 1162"/>
                <a:gd name="T7" fmla="*/ 0 h 465"/>
                <a:gd name="T8" fmla="*/ 912 w 1162"/>
                <a:gd name="T9" fmla="*/ 95 h 465"/>
                <a:gd name="T10" fmla="*/ 581 w 1162"/>
                <a:gd name="T11" fmla="*/ 186 h 465"/>
                <a:gd name="T12" fmla="*/ 250 w 1162"/>
                <a:gd name="T13" fmla="*/ 95 h 465"/>
                <a:gd name="T14" fmla="*/ 125 w 1162"/>
                <a:gd name="T15" fmla="*/ 0 h 465"/>
                <a:gd name="T16" fmla="*/ 125 w 1162"/>
                <a:gd name="T17" fmla="*/ 2 h 465"/>
                <a:gd name="T18" fmla="*/ 183 w 1162"/>
                <a:gd name="T19" fmla="*/ 115 h 465"/>
                <a:gd name="T20" fmla="*/ 0 w 1162"/>
                <a:gd name="T21" fmla="*/ 265 h 465"/>
                <a:gd name="T22" fmla="*/ 0 w 1162"/>
                <a:gd name="T23" fmla="*/ 265 h 465"/>
                <a:gd name="T24" fmla="*/ 0 w 1162"/>
                <a:gd name="T25" fmla="*/ 443 h 465"/>
                <a:gd name="T26" fmla="*/ 22 w 1162"/>
                <a:gd name="T27" fmla="*/ 465 h 465"/>
                <a:gd name="T28" fmla="*/ 1140 w 1162"/>
                <a:gd name="T29" fmla="*/ 465 h 465"/>
                <a:gd name="T30" fmla="*/ 1162 w 1162"/>
                <a:gd name="T31" fmla="*/ 443 h 465"/>
                <a:gd name="T32" fmla="*/ 1162 w 1162"/>
                <a:gd name="T33" fmla="*/ 2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2" h="465">
                  <a:moveTo>
                    <a:pt x="1162" y="265"/>
                  </a:moveTo>
                  <a:cubicBezTo>
                    <a:pt x="1161" y="205"/>
                    <a:pt x="1091" y="152"/>
                    <a:pt x="978" y="115"/>
                  </a:cubicBezTo>
                  <a:cubicBezTo>
                    <a:pt x="1015" y="81"/>
                    <a:pt x="1036" y="43"/>
                    <a:pt x="1036" y="2"/>
                  </a:cubicBezTo>
                  <a:cubicBezTo>
                    <a:pt x="1036" y="1"/>
                    <a:pt x="1036" y="1"/>
                    <a:pt x="1036" y="0"/>
                  </a:cubicBezTo>
                  <a:cubicBezTo>
                    <a:pt x="998" y="37"/>
                    <a:pt x="957" y="69"/>
                    <a:pt x="912" y="95"/>
                  </a:cubicBezTo>
                  <a:cubicBezTo>
                    <a:pt x="815" y="153"/>
                    <a:pt x="702" y="186"/>
                    <a:pt x="581" y="186"/>
                  </a:cubicBezTo>
                  <a:cubicBezTo>
                    <a:pt x="460" y="186"/>
                    <a:pt x="347" y="153"/>
                    <a:pt x="250" y="95"/>
                  </a:cubicBezTo>
                  <a:cubicBezTo>
                    <a:pt x="205" y="69"/>
                    <a:pt x="163" y="37"/>
                    <a:pt x="125" y="0"/>
                  </a:cubicBezTo>
                  <a:cubicBezTo>
                    <a:pt x="125" y="1"/>
                    <a:pt x="125" y="1"/>
                    <a:pt x="125" y="2"/>
                  </a:cubicBezTo>
                  <a:cubicBezTo>
                    <a:pt x="125" y="43"/>
                    <a:pt x="146" y="81"/>
                    <a:pt x="183" y="115"/>
                  </a:cubicBezTo>
                  <a:cubicBezTo>
                    <a:pt x="71" y="152"/>
                    <a:pt x="1" y="205"/>
                    <a:pt x="0" y="265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55"/>
                    <a:pt x="9" y="465"/>
                    <a:pt x="22" y="465"/>
                  </a:cubicBezTo>
                  <a:cubicBezTo>
                    <a:pt x="1140" y="465"/>
                    <a:pt x="1140" y="465"/>
                    <a:pt x="1140" y="465"/>
                  </a:cubicBezTo>
                  <a:cubicBezTo>
                    <a:pt x="1152" y="465"/>
                    <a:pt x="1162" y="455"/>
                    <a:pt x="1162" y="443"/>
                  </a:cubicBezTo>
                  <a:cubicBezTo>
                    <a:pt x="1162" y="265"/>
                    <a:pt x="1162" y="265"/>
                    <a:pt x="1162" y="265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latin typeface="Suzano Sans Thin" panose="02010403030508060203" pitchFamily="2" charset="0"/>
              </a:endParaRP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0AC6CCE-0A3B-4639-A29E-D1D0A8F933F0}"/>
              </a:ext>
            </a:extLst>
          </p:cNvPr>
          <p:cNvGrpSpPr/>
          <p:nvPr/>
        </p:nvGrpSpPr>
        <p:grpSpPr>
          <a:xfrm>
            <a:off x="333375" y="2331384"/>
            <a:ext cx="5874669" cy="3998914"/>
            <a:chOff x="333375" y="2331384"/>
            <a:chExt cx="5874669" cy="3998914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3B272D8E-C05C-4B5F-9C1A-60CD179450A5}"/>
                </a:ext>
              </a:extLst>
            </p:cNvPr>
            <p:cNvSpPr/>
            <p:nvPr/>
          </p:nvSpPr>
          <p:spPr>
            <a:xfrm>
              <a:off x="333375" y="2331384"/>
              <a:ext cx="5874669" cy="3147198"/>
            </a:xfrm>
            <a:prstGeom prst="rect">
              <a:avLst/>
            </a:prstGeom>
            <a:solidFill>
              <a:srgbClr val="404040">
                <a:alpha val="7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Retângulo 55">
              <a:extLst>
                <a:ext uri="{FF2B5EF4-FFF2-40B4-BE49-F238E27FC236}">
                  <a16:creationId xmlns:a16="http://schemas.microsoft.com/office/drawing/2014/main" id="{069FA6CE-6507-4AA5-8E8A-DF9AA095EDAB}"/>
                </a:ext>
              </a:extLst>
            </p:cNvPr>
            <p:cNvSpPr/>
            <p:nvPr/>
          </p:nvSpPr>
          <p:spPr>
            <a:xfrm>
              <a:off x="580571" y="5482298"/>
              <a:ext cx="3128482" cy="848000"/>
            </a:xfrm>
            <a:prstGeom prst="rect">
              <a:avLst/>
            </a:prstGeom>
            <a:solidFill>
              <a:srgbClr val="404040">
                <a:alpha val="7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671637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edifício, ao ar livre, árvore, celular&#10;&#10;Descrição gerada automaticamente">
            <a:extLst>
              <a:ext uri="{FF2B5EF4-FFF2-40B4-BE49-F238E27FC236}">
                <a16:creationId xmlns:a16="http://schemas.microsoft.com/office/drawing/2014/main" id="{7733A4CC-4511-4DF8-9AA5-0D4C64ACDA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4E0B198B-F65A-4376-952D-F0961F7E26D4}"/>
              </a:ext>
            </a:extLst>
          </p:cNvPr>
          <p:cNvSpPr/>
          <p:nvPr/>
        </p:nvSpPr>
        <p:spPr>
          <a:xfrm>
            <a:off x="9144001" y="2"/>
            <a:ext cx="3048000" cy="6855649"/>
          </a:xfrm>
          <a:prstGeom prst="roundRect">
            <a:avLst>
              <a:gd name="adj" fmla="val 0"/>
            </a:avLst>
          </a:prstGeom>
          <a:solidFill>
            <a:srgbClr val="DBDD2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C50609F2-82AC-4E9A-80B1-BF59AB3B33C3}"/>
              </a:ext>
            </a:extLst>
          </p:cNvPr>
          <p:cNvSpPr/>
          <p:nvPr/>
        </p:nvSpPr>
        <p:spPr>
          <a:xfrm>
            <a:off x="3048000" y="0"/>
            <a:ext cx="3048000" cy="6855649"/>
          </a:xfrm>
          <a:prstGeom prst="roundRect">
            <a:avLst>
              <a:gd name="adj" fmla="val 0"/>
            </a:avLst>
          </a:prstGeom>
          <a:solidFill>
            <a:srgbClr val="3863D4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C49DFAB1-8A94-49A0-80ED-073C9C7D7460}"/>
              </a:ext>
            </a:extLst>
          </p:cNvPr>
          <p:cNvSpPr/>
          <p:nvPr/>
        </p:nvSpPr>
        <p:spPr>
          <a:xfrm>
            <a:off x="6096002" y="2351"/>
            <a:ext cx="3048000" cy="6855649"/>
          </a:xfrm>
          <a:prstGeom prst="roundRect">
            <a:avLst>
              <a:gd name="adj" fmla="val 0"/>
            </a:avLst>
          </a:prstGeom>
          <a:solidFill>
            <a:srgbClr val="70C75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88218D13-6ECB-459C-871D-DB1F10ECC6F7}"/>
              </a:ext>
            </a:extLst>
          </p:cNvPr>
          <p:cNvSpPr/>
          <p:nvPr/>
        </p:nvSpPr>
        <p:spPr>
          <a:xfrm>
            <a:off x="1" y="4"/>
            <a:ext cx="3048000" cy="6855649"/>
          </a:xfrm>
          <a:prstGeom prst="roundRect">
            <a:avLst>
              <a:gd name="adj" fmla="val 0"/>
            </a:avLst>
          </a:prstGeom>
          <a:solidFill>
            <a:srgbClr val="142276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0" name="Agrupar 89">
            <a:extLst>
              <a:ext uri="{FF2B5EF4-FFF2-40B4-BE49-F238E27FC236}">
                <a16:creationId xmlns:a16="http://schemas.microsoft.com/office/drawing/2014/main" id="{650744A4-8921-4A71-B71A-76C8726C640C}"/>
              </a:ext>
            </a:extLst>
          </p:cNvPr>
          <p:cNvGrpSpPr/>
          <p:nvPr/>
        </p:nvGrpSpPr>
        <p:grpSpPr>
          <a:xfrm>
            <a:off x="6360628" y="1790196"/>
            <a:ext cx="2520000" cy="3929556"/>
            <a:chOff x="6360628" y="2038378"/>
            <a:chExt cx="2520000" cy="3929556"/>
          </a:xfrm>
        </p:grpSpPr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A37C9BFA-F2B7-401A-97AF-85E30A40575E}"/>
                </a:ext>
              </a:extLst>
            </p:cNvPr>
            <p:cNvSpPr txBox="1"/>
            <p:nvPr/>
          </p:nvSpPr>
          <p:spPr>
            <a:xfrm flipH="1">
              <a:off x="6360628" y="2038378"/>
              <a:ext cx="2520000" cy="643509"/>
            </a:xfrm>
            <a:prstGeom prst="rect">
              <a:avLst/>
            </a:prstGeom>
            <a:noFill/>
          </p:spPr>
          <p:txBody>
            <a:bodyPr wrap="square" lIns="72000" tIns="0" rIns="72000" bIns="0" rtlCol="0" anchor="b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uzano Sans" panose="02010503030508060203" pitchFamily="2" charset="0"/>
                  <a:ea typeface="+mn-ea"/>
                  <a:cs typeface="+mn-cs"/>
                </a:rPr>
                <a:t>Bens de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2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uzano Sans" panose="02010503030508060203" pitchFamily="2" charset="0"/>
                  <a:ea typeface="+mn-ea"/>
                  <a:cs typeface="+mn-cs"/>
                </a:rPr>
                <a:t>Consumo</a:t>
              </a:r>
            </a:p>
          </p:txBody>
        </p:sp>
        <p:grpSp>
          <p:nvGrpSpPr>
            <p:cNvPr id="86" name="Agrupar 85">
              <a:extLst>
                <a:ext uri="{FF2B5EF4-FFF2-40B4-BE49-F238E27FC236}">
                  <a16:creationId xmlns:a16="http://schemas.microsoft.com/office/drawing/2014/main" id="{6422067B-1133-4F02-8355-A88A8DC70A2D}"/>
                </a:ext>
              </a:extLst>
            </p:cNvPr>
            <p:cNvGrpSpPr/>
            <p:nvPr/>
          </p:nvGrpSpPr>
          <p:grpSpPr>
            <a:xfrm>
              <a:off x="6540517" y="3032689"/>
              <a:ext cx="2158966" cy="2116518"/>
              <a:chOff x="6540517" y="2548773"/>
              <a:chExt cx="2158966" cy="2116518"/>
            </a:xfrm>
          </p:grpSpPr>
          <p:grpSp>
            <p:nvGrpSpPr>
              <p:cNvPr id="47" name="Agrupar 46">
                <a:extLst>
                  <a:ext uri="{FF2B5EF4-FFF2-40B4-BE49-F238E27FC236}">
                    <a16:creationId xmlns:a16="http://schemas.microsoft.com/office/drawing/2014/main" id="{0B48AF4E-0A06-4205-BE5F-B766CF85EB12}"/>
                  </a:ext>
                </a:extLst>
              </p:cNvPr>
              <p:cNvGrpSpPr/>
              <p:nvPr/>
            </p:nvGrpSpPr>
            <p:grpSpPr>
              <a:xfrm>
                <a:off x="6540517" y="2548773"/>
                <a:ext cx="969474" cy="969474"/>
                <a:chOff x="6491077" y="4024261"/>
                <a:chExt cx="1095478" cy="1095478"/>
              </a:xfrm>
            </p:grpSpPr>
            <p:sp>
              <p:nvSpPr>
                <p:cNvPr id="37" name="Elipse 36">
                  <a:extLst>
                    <a:ext uri="{FF2B5EF4-FFF2-40B4-BE49-F238E27FC236}">
                      <a16:creationId xmlns:a16="http://schemas.microsoft.com/office/drawing/2014/main" id="{9736CC5E-5CF1-4B6D-8D29-EBAC1382F92A}"/>
                    </a:ext>
                  </a:extLst>
                </p:cNvPr>
                <p:cNvSpPr/>
                <p:nvPr/>
              </p:nvSpPr>
              <p:spPr>
                <a:xfrm>
                  <a:off x="6491077" y="4024261"/>
                  <a:ext cx="1095478" cy="10954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pic>
              <p:nvPicPr>
                <p:cNvPr id="21" name="Imagem 20">
                  <a:extLst>
                    <a:ext uri="{FF2B5EF4-FFF2-40B4-BE49-F238E27FC236}">
                      <a16:creationId xmlns:a16="http://schemas.microsoft.com/office/drawing/2014/main" id="{81DF4229-32DD-4501-929A-935F2B2E5D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28900" y="4317042"/>
                  <a:ext cx="836300" cy="518318"/>
                </a:xfrm>
                <a:prstGeom prst="rect">
                  <a:avLst/>
                </a:prstGeom>
              </p:spPr>
            </p:pic>
          </p:grpSp>
          <p:grpSp>
            <p:nvGrpSpPr>
              <p:cNvPr id="50" name="Agrupar 49">
                <a:extLst>
                  <a:ext uri="{FF2B5EF4-FFF2-40B4-BE49-F238E27FC236}">
                    <a16:creationId xmlns:a16="http://schemas.microsoft.com/office/drawing/2014/main" id="{B97EFF66-3190-40D4-8DA3-2731EEFA5EDC}"/>
                  </a:ext>
                </a:extLst>
              </p:cNvPr>
              <p:cNvGrpSpPr/>
              <p:nvPr/>
            </p:nvGrpSpPr>
            <p:grpSpPr>
              <a:xfrm>
                <a:off x="7730009" y="3695817"/>
                <a:ext cx="969474" cy="969474"/>
                <a:chOff x="7747804" y="5278296"/>
                <a:chExt cx="1095478" cy="1095478"/>
              </a:xfrm>
            </p:grpSpPr>
            <p:sp>
              <p:nvSpPr>
                <p:cNvPr id="40" name="Elipse 39">
                  <a:extLst>
                    <a:ext uri="{FF2B5EF4-FFF2-40B4-BE49-F238E27FC236}">
                      <a16:creationId xmlns:a16="http://schemas.microsoft.com/office/drawing/2014/main" id="{13E049C1-5F3C-459A-B534-6A3FB80643AA}"/>
                    </a:ext>
                  </a:extLst>
                </p:cNvPr>
                <p:cNvSpPr/>
                <p:nvPr/>
              </p:nvSpPr>
              <p:spPr>
                <a:xfrm>
                  <a:off x="7747804" y="5278296"/>
                  <a:ext cx="1095478" cy="10954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pic>
              <p:nvPicPr>
                <p:cNvPr id="22" name="E3A89B40-B7EF-4557-95FB-68FFFAEDC08A" descr="F67C252D-3CF4-4D5D-B083-505B728C7063@Home">
                  <a:extLst>
                    <a:ext uri="{FF2B5EF4-FFF2-40B4-BE49-F238E27FC236}">
                      <a16:creationId xmlns:a16="http://schemas.microsoft.com/office/drawing/2014/main" id="{FF95D2DA-9480-4B80-8990-3B5DE9544C2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6204"/>
                <a:stretch/>
              </p:blipFill>
              <p:spPr bwMode="auto">
                <a:xfrm>
                  <a:off x="7895323" y="5437694"/>
                  <a:ext cx="791478" cy="6988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8" name="Agrupar 47">
                <a:extLst>
                  <a:ext uri="{FF2B5EF4-FFF2-40B4-BE49-F238E27FC236}">
                    <a16:creationId xmlns:a16="http://schemas.microsoft.com/office/drawing/2014/main" id="{22B4AB00-77DE-46DD-AE4F-D0C71D85AF51}"/>
                  </a:ext>
                </a:extLst>
              </p:cNvPr>
              <p:cNvGrpSpPr/>
              <p:nvPr/>
            </p:nvGrpSpPr>
            <p:grpSpPr>
              <a:xfrm>
                <a:off x="7730009" y="2548773"/>
                <a:ext cx="969474" cy="969474"/>
                <a:chOff x="7747804" y="4024261"/>
                <a:chExt cx="1095478" cy="1095478"/>
              </a:xfrm>
            </p:grpSpPr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BB575546-E229-40CB-BDD9-EFE3B2EB0D8D}"/>
                    </a:ext>
                  </a:extLst>
                </p:cNvPr>
                <p:cNvSpPr/>
                <p:nvPr/>
              </p:nvSpPr>
              <p:spPr>
                <a:xfrm>
                  <a:off x="7747804" y="4024261"/>
                  <a:ext cx="1095478" cy="10954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grpSp>
              <p:nvGrpSpPr>
                <p:cNvPr id="23" name="Agrupar 22">
                  <a:extLst>
                    <a:ext uri="{FF2B5EF4-FFF2-40B4-BE49-F238E27FC236}">
                      <a16:creationId xmlns:a16="http://schemas.microsoft.com/office/drawing/2014/main" id="{5182804E-A5AC-4948-A782-DAA57E167D78}"/>
                    </a:ext>
                  </a:extLst>
                </p:cNvPr>
                <p:cNvGrpSpPr/>
                <p:nvPr/>
              </p:nvGrpSpPr>
              <p:grpSpPr>
                <a:xfrm>
                  <a:off x="7927907" y="4311069"/>
                  <a:ext cx="732916" cy="454244"/>
                  <a:chOff x="7795953" y="2354536"/>
                  <a:chExt cx="2514336" cy="1632037"/>
                </a:xfrm>
              </p:grpSpPr>
              <p:pic>
                <p:nvPicPr>
                  <p:cNvPr id="24" name="Imagem 23">
                    <a:extLst>
                      <a:ext uri="{FF2B5EF4-FFF2-40B4-BE49-F238E27FC236}">
                        <a16:creationId xmlns:a16="http://schemas.microsoft.com/office/drawing/2014/main" id="{3B5C53AB-ED28-4970-81E0-401FB12C97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6778" t="11982" r="14784" b="25336"/>
                  <a:stretch/>
                </p:blipFill>
                <p:spPr>
                  <a:xfrm>
                    <a:off x="7795953" y="2354536"/>
                    <a:ext cx="2514336" cy="1632037"/>
                  </a:xfrm>
                  <a:prstGeom prst="rect">
                    <a:avLst/>
                  </a:prstGeom>
                </p:spPr>
              </p:pic>
              <p:pic>
                <p:nvPicPr>
                  <p:cNvPr id="25" name="Imagem 24">
                    <a:extLst>
                      <a:ext uri="{FF2B5EF4-FFF2-40B4-BE49-F238E27FC236}">
                        <a16:creationId xmlns:a16="http://schemas.microsoft.com/office/drawing/2014/main" id="{FF53FD6F-D2E9-4743-B128-911B7127063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0820" t="20984" r="20328" b="17377"/>
                  <a:stretch/>
                </p:blipFill>
                <p:spPr>
                  <a:xfrm>
                    <a:off x="8721833" y="2354536"/>
                    <a:ext cx="653147" cy="582871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49" name="Agrupar 48">
                <a:extLst>
                  <a:ext uri="{FF2B5EF4-FFF2-40B4-BE49-F238E27FC236}">
                    <a16:creationId xmlns:a16="http://schemas.microsoft.com/office/drawing/2014/main" id="{DF2D5A5C-314E-469F-9C0F-337156246F3C}"/>
                  </a:ext>
                </a:extLst>
              </p:cNvPr>
              <p:cNvGrpSpPr/>
              <p:nvPr/>
            </p:nvGrpSpPr>
            <p:grpSpPr>
              <a:xfrm>
                <a:off x="6540517" y="3695817"/>
                <a:ext cx="969474" cy="969474"/>
                <a:chOff x="6491077" y="5278296"/>
                <a:chExt cx="1095478" cy="1095478"/>
              </a:xfrm>
            </p:grpSpPr>
            <p:sp>
              <p:nvSpPr>
                <p:cNvPr id="39" name="Elipse 38">
                  <a:extLst>
                    <a:ext uri="{FF2B5EF4-FFF2-40B4-BE49-F238E27FC236}">
                      <a16:creationId xmlns:a16="http://schemas.microsoft.com/office/drawing/2014/main" id="{744ECE67-FCD6-49C6-8E14-4AA3CEA265DD}"/>
                    </a:ext>
                  </a:extLst>
                </p:cNvPr>
                <p:cNvSpPr/>
                <p:nvPr/>
              </p:nvSpPr>
              <p:spPr>
                <a:xfrm>
                  <a:off x="6491077" y="5278296"/>
                  <a:ext cx="1095478" cy="109547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pic>
              <p:nvPicPr>
                <p:cNvPr id="26" name="Imagem 25">
                  <a:extLst>
                    <a:ext uri="{FF2B5EF4-FFF2-40B4-BE49-F238E27FC236}">
                      <a16:creationId xmlns:a16="http://schemas.microsoft.com/office/drawing/2014/main" id="{DC4239AD-7113-456A-8C14-06C0E1D9F9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95222" y="5591913"/>
                  <a:ext cx="893266" cy="499953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2084CAD8-54F8-49A3-BA61-96B3FF0F8BD8}"/>
                </a:ext>
              </a:extLst>
            </p:cNvPr>
            <p:cNvCxnSpPr>
              <a:cxnSpLocks/>
            </p:cNvCxnSpPr>
            <p:nvPr/>
          </p:nvCxnSpPr>
          <p:spPr>
            <a:xfrm>
              <a:off x="6543808" y="5320655"/>
              <a:ext cx="2153640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Agrupar 81">
              <a:extLst>
                <a:ext uri="{FF2B5EF4-FFF2-40B4-BE49-F238E27FC236}">
                  <a16:creationId xmlns:a16="http://schemas.microsoft.com/office/drawing/2014/main" id="{0D8C7D1E-C075-469E-9342-A50F269AF3AA}"/>
                </a:ext>
              </a:extLst>
            </p:cNvPr>
            <p:cNvGrpSpPr/>
            <p:nvPr/>
          </p:nvGrpSpPr>
          <p:grpSpPr>
            <a:xfrm>
              <a:off x="6537353" y="5473023"/>
              <a:ext cx="2166550" cy="494911"/>
              <a:chOff x="6537353" y="5473023"/>
              <a:chExt cx="2166550" cy="494911"/>
            </a:xfrm>
          </p:grpSpPr>
          <p:sp>
            <p:nvSpPr>
              <p:cNvPr id="75" name="CaixaDeTexto 74">
                <a:extLst>
                  <a:ext uri="{FF2B5EF4-FFF2-40B4-BE49-F238E27FC236}">
                    <a16:creationId xmlns:a16="http://schemas.microsoft.com/office/drawing/2014/main" id="{95478BA7-50BE-46EA-A5A9-91028A1F7947}"/>
                  </a:ext>
                </a:extLst>
              </p:cNvPr>
              <p:cNvSpPr txBox="1"/>
              <p:nvPr/>
            </p:nvSpPr>
            <p:spPr>
              <a:xfrm flipH="1">
                <a:off x="6537353" y="5473023"/>
                <a:ext cx="2166550" cy="320601"/>
              </a:xfrm>
              <a:prstGeom prst="rect">
                <a:avLst/>
              </a:prstGeom>
              <a:noFill/>
            </p:spPr>
            <p:txBody>
              <a:bodyPr wrap="square" lIns="72000" tIns="0" rIns="7200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1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uzano Sans" panose="02010503030508060203" pitchFamily="2" charset="0"/>
                    <a:ea typeface="+mn-ea"/>
                    <a:cs typeface="+mn-cs"/>
                  </a:rPr>
                  <a:t>170 mil</a:t>
                </a:r>
              </a:p>
            </p:txBody>
          </p:sp>
          <p:sp>
            <p:nvSpPr>
              <p:cNvPr id="78" name="CaixaDeTexto 77">
                <a:extLst>
                  <a:ext uri="{FF2B5EF4-FFF2-40B4-BE49-F238E27FC236}">
                    <a16:creationId xmlns:a16="http://schemas.microsoft.com/office/drawing/2014/main" id="{00D29255-6185-48A1-8029-11DD78322FC0}"/>
                  </a:ext>
                </a:extLst>
              </p:cNvPr>
              <p:cNvSpPr txBox="1"/>
              <p:nvPr/>
            </p:nvSpPr>
            <p:spPr>
              <a:xfrm flipH="1">
                <a:off x="6765390" y="5783268"/>
                <a:ext cx="1710476" cy="184666"/>
              </a:xfrm>
              <a:prstGeom prst="rect">
                <a:avLst/>
              </a:prstGeom>
              <a:noFill/>
            </p:spPr>
            <p:txBody>
              <a:bodyPr wrap="square" lIns="72000" tIns="0" rIns="72000" bIns="0" rtlCol="0" anchor="ctr" anchorCtr="0">
                <a:spAutoFit/>
              </a:bodyPr>
              <a:lstStyle/>
              <a:p>
                <a:pPr lvl="0" algn="ctr">
                  <a:defRPr/>
                </a:pPr>
                <a:r>
                  <a:rPr lang="pt-BR" sz="1200">
                    <a:solidFill>
                      <a:prstClr val="white"/>
                    </a:solidFill>
                    <a:latin typeface="Suzano Sans" panose="02010503030508060203" pitchFamily="2" charset="0"/>
                  </a:rPr>
                  <a:t>TON/ANO*</a:t>
                </a:r>
              </a:p>
            </p:txBody>
          </p:sp>
        </p:grpSp>
      </p:grp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36A5E166-80E9-4218-B382-7241E99541F5}"/>
              </a:ext>
            </a:extLst>
          </p:cNvPr>
          <p:cNvGrpSpPr/>
          <p:nvPr/>
        </p:nvGrpSpPr>
        <p:grpSpPr>
          <a:xfrm>
            <a:off x="264001" y="2110796"/>
            <a:ext cx="2520000" cy="3608956"/>
            <a:chOff x="264001" y="2358978"/>
            <a:chExt cx="2520000" cy="3608956"/>
          </a:xfrm>
        </p:grpSpPr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33669A52-F284-4883-AE2C-49132B016249}"/>
                </a:ext>
              </a:extLst>
            </p:cNvPr>
            <p:cNvSpPr txBox="1"/>
            <p:nvPr/>
          </p:nvSpPr>
          <p:spPr>
            <a:xfrm flipH="1">
              <a:off x="264001" y="2358978"/>
              <a:ext cx="2520000" cy="322909"/>
            </a:xfrm>
            <a:prstGeom prst="rect">
              <a:avLst/>
            </a:prstGeom>
            <a:noFill/>
          </p:spPr>
          <p:txBody>
            <a:bodyPr wrap="square" lIns="72000" tIns="0" rIns="72000" bIns="0" rtlCol="0" anchor="b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uzano Sans" panose="02010503030508060203" pitchFamily="2" charset="0"/>
                  <a:ea typeface="+mn-ea"/>
                  <a:cs typeface="+mn-cs"/>
                </a:rPr>
                <a:t>Celulose</a:t>
              </a:r>
            </a:p>
          </p:txBody>
        </p:sp>
        <p:grpSp>
          <p:nvGrpSpPr>
            <p:cNvPr id="43" name="Agrupar 42">
              <a:extLst>
                <a:ext uri="{FF2B5EF4-FFF2-40B4-BE49-F238E27FC236}">
                  <a16:creationId xmlns:a16="http://schemas.microsoft.com/office/drawing/2014/main" id="{FDA25744-6D84-4C33-8702-A28370B33F8C}"/>
                </a:ext>
              </a:extLst>
            </p:cNvPr>
            <p:cNvGrpSpPr/>
            <p:nvPr/>
          </p:nvGrpSpPr>
          <p:grpSpPr>
            <a:xfrm>
              <a:off x="894361" y="3461308"/>
              <a:ext cx="1259280" cy="1259280"/>
              <a:chOff x="914537" y="4024261"/>
              <a:chExt cx="1422950" cy="1422950"/>
            </a:xfrm>
          </p:grpSpPr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9FABC03E-88C7-4367-ADFA-E68DE87C9295}"/>
                  </a:ext>
                </a:extLst>
              </p:cNvPr>
              <p:cNvSpPr/>
              <p:nvPr/>
            </p:nvSpPr>
            <p:spPr>
              <a:xfrm>
                <a:off x="914537" y="4024261"/>
                <a:ext cx="1422950" cy="1422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42" name="Gráfico 41">
                <a:extLst>
                  <a:ext uri="{FF2B5EF4-FFF2-40B4-BE49-F238E27FC236}">
                    <a16:creationId xmlns:a16="http://schemas.microsoft.com/office/drawing/2014/main" id="{E151DEB6-411B-4321-A954-3DBBE1F19A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b="17620"/>
              <a:stretch/>
            </p:blipFill>
            <p:spPr>
              <a:xfrm>
                <a:off x="1035432" y="4584284"/>
                <a:ext cx="1181161" cy="302904"/>
              </a:xfrm>
              <a:prstGeom prst="rect">
                <a:avLst/>
              </a:prstGeom>
            </p:spPr>
          </p:pic>
        </p:grp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746D2399-E2C2-4E9E-8043-DFE80A0CD16E}"/>
                </a:ext>
              </a:extLst>
            </p:cNvPr>
            <p:cNvCxnSpPr>
              <a:cxnSpLocks/>
            </p:cNvCxnSpPr>
            <p:nvPr/>
          </p:nvCxnSpPr>
          <p:spPr>
            <a:xfrm>
              <a:off x="447181" y="5320655"/>
              <a:ext cx="2153640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Agrupar 79">
              <a:extLst>
                <a:ext uri="{FF2B5EF4-FFF2-40B4-BE49-F238E27FC236}">
                  <a16:creationId xmlns:a16="http://schemas.microsoft.com/office/drawing/2014/main" id="{F27EBCB6-EF7F-4593-BD2C-AF78E2354FB9}"/>
                </a:ext>
              </a:extLst>
            </p:cNvPr>
            <p:cNvGrpSpPr/>
            <p:nvPr/>
          </p:nvGrpSpPr>
          <p:grpSpPr>
            <a:xfrm>
              <a:off x="440726" y="5473023"/>
              <a:ext cx="2166550" cy="494911"/>
              <a:chOff x="440726" y="5473023"/>
              <a:chExt cx="2166550" cy="494911"/>
            </a:xfrm>
          </p:grpSpPr>
          <p:sp>
            <p:nvSpPr>
              <p:cNvPr id="76" name="CaixaDeTexto 75">
                <a:extLst>
                  <a:ext uri="{FF2B5EF4-FFF2-40B4-BE49-F238E27FC236}">
                    <a16:creationId xmlns:a16="http://schemas.microsoft.com/office/drawing/2014/main" id="{5B0A1EC3-03EE-49F4-80DC-845F9773D2AC}"/>
                  </a:ext>
                </a:extLst>
              </p:cNvPr>
              <p:cNvSpPr txBox="1"/>
              <p:nvPr/>
            </p:nvSpPr>
            <p:spPr>
              <a:xfrm flipH="1">
                <a:off x="440726" y="5473023"/>
                <a:ext cx="2166550" cy="320601"/>
              </a:xfrm>
              <a:prstGeom prst="rect">
                <a:avLst/>
              </a:prstGeom>
              <a:noFill/>
            </p:spPr>
            <p:txBody>
              <a:bodyPr wrap="square" lIns="72000" tIns="0" rIns="7200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1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uzano Sans" panose="02010503030508060203" pitchFamily="2" charset="0"/>
                    <a:ea typeface="+mn-ea"/>
                    <a:cs typeface="+mn-cs"/>
                  </a:rPr>
                  <a:t>10,9 milhões</a:t>
                </a:r>
              </a:p>
            </p:txBody>
          </p:sp>
          <p:sp>
            <p:nvSpPr>
              <p:cNvPr id="79" name="CaixaDeTexto 78">
                <a:extLst>
                  <a:ext uri="{FF2B5EF4-FFF2-40B4-BE49-F238E27FC236}">
                    <a16:creationId xmlns:a16="http://schemas.microsoft.com/office/drawing/2014/main" id="{5FFF9E6A-99E8-49D4-B966-9197FF07A523}"/>
                  </a:ext>
                </a:extLst>
              </p:cNvPr>
              <p:cNvSpPr txBox="1"/>
              <p:nvPr/>
            </p:nvSpPr>
            <p:spPr>
              <a:xfrm flipH="1">
                <a:off x="668763" y="5783268"/>
                <a:ext cx="1710476" cy="184666"/>
              </a:xfrm>
              <a:prstGeom prst="rect">
                <a:avLst/>
              </a:prstGeom>
              <a:noFill/>
            </p:spPr>
            <p:txBody>
              <a:bodyPr wrap="square" lIns="72000" tIns="0" rIns="72000" bIns="0" rtlCol="0" anchor="ctr" anchorCtr="0">
                <a:spAutoFit/>
              </a:bodyPr>
              <a:lstStyle/>
              <a:p>
                <a:pPr lvl="0" algn="ctr">
                  <a:defRPr/>
                </a:pPr>
                <a:r>
                  <a:rPr lang="pt-BR" sz="1200">
                    <a:solidFill>
                      <a:prstClr val="white"/>
                    </a:solidFill>
                    <a:latin typeface="Suzano Sans" panose="02010503030508060203" pitchFamily="2" charset="0"/>
                  </a:rPr>
                  <a:t>TON/ANO*</a:t>
                </a:r>
              </a:p>
            </p:txBody>
          </p:sp>
        </p:grpSp>
      </p:grpSp>
      <p:sp>
        <p:nvSpPr>
          <p:cNvPr id="92" name="CaixaDeTexto 91">
            <a:extLst>
              <a:ext uri="{FF2B5EF4-FFF2-40B4-BE49-F238E27FC236}">
                <a16:creationId xmlns:a16="http://schemas.microsoft.com/office/drawing/2014/main" id="{8CF4FDB5-3F49-46D9-8CC4-0EE02E420F28}"/>
              </a:ext>
            </a:extLst>
          </p:cNvPr>
          <p:cNvSpPr txBox="1"/>
          <p:nvPr/>
        </p:nvSpPr>
        <p:spPr>
          <a:xfrm>
            <a:off x="381331" y="535949"/>
            <a:ext cx="838133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00" b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Nossos produtos são de </a:t>
            </a:r>
            <a:r>
              <a:rPr kumimoji="0" lang="pt-BR" sz="19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origem renovável, biodegradável</a:t>
            </a:r>
            <a:r>
              <a:rPr kumimoji="0" lang="pt-BR" sz="1900" b="1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 </a:t>
            </a:r>
            <a:r>
              <a:rPr kumimoji="0" lang="pt-BR" sz="19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e reciclável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Produzimos tudo a partir do eucalipto </a:t>
            </a:r>
            <a:r>
              <a:rPr kumimoji="0" lang="pt-BR" sz="1900" b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plantado e colhido.</a:t>
            </a:r>
          </a:p>
        </p:txBody>
      </p:sp>
      <p:pic>
        <p:nvPicPr>
          <p:cNvPr id="68" name="Gráfico 67">
            <a:extLst>
              <a:ext uri="{FF2B5EF4-FFF2-40B4-BE49-F238E27FC236}">
                <a16:creationId xmlns:a16="http://schemas.microsoft.com/office/drawing/2014/main" id="{E35C0F9B-DBF6-4AA6-A0EF-473141AE09B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b="17644"/>
          <a:stretch/>
        </p:blipFill>
        <p:spPr>
          <a:xfrm>
            <a:off x="10097060" y="567516"/>
            <a:ext cx="1491454" cy="384808"/>
          </a:xfrm>
          <a:prstGeom prst="rect">
            <a:avLst/>
          </a:prstGeom>
        </p:spPr>
      </p:pic>
      <p:grpSp>
        <p:nvGrpSpPr>
          <p:cNvPr id="10" name="Agrupar 9">
            <a:extLst>
              <a:ext uri="{FF2B5EF4-FFF2-40B4-BE49-F238E27FC236}">
                <a16:creationId xmlns:a16="http://schemas.microsoft.com/office/drawing/2014/main" id="{B1616A87-BA4B-424C-B3A7-E178539FE91A}"/>
              </a:ext>
            </a:extLst>
          </p:cNvPr>
          <p:cNvGrpSpPr/>
          <p:nvPr/>
        </p:nvGrpSpPr>
        <p:grpSpPr>
          <a:xfrm>
            <a:off x="3313256" y="1790196"/>
            <a:ext cx="2520000" cy="3929556"/>
            <a:chOff x="3313256" y="1790196"/>
            <a:chExt cx="2520000" cy="3929556"/>
          </a:xfrm>
        </p:grpSpPr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0DBF01D9-99AD-44C2-A683-C342A5F7E051}"/>
                </a:ext>
              </a:extLst>
            </p:cNvPr>
            <p:cNvGrpSpPr/>
            <p:nvPr/>
          </p:nvGrpSpPr>
          <p:grpSpPr>
            <a:xfrm>
              <a:off x="3313256" y="1790196"/>
              <a:ext cx="2520000" cy="3929556"/>
              <a:chOff x="3313256" y="1790196"/>
              <a:chExt cx="2520000" cy="3929556"/>
            </a:xfrm>
          </p:grpSpPr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8FE89E4A-8C1F-488F-8832-EA8872E11CBA}"/>
                  </a:ext>
                </a:extLst>
              </p:cNvPr>
              <p:cNvSpPr txBox="1"/>
              <p:nvPr/>
            </p:nvSpPr>
            <p:spPr>
              <a:xfrm flipH="1">
                <a:off x="3313256" y="1790196"/>
                <a:ext cx="2520000" cy="643509"/>
              </a:xfrm>
              <a:prstGeom prst="rect">
                <a:avLst/>
              </a:prstGeom>
              <a:noFill/>
            </p:spPr>
            <p:txBody>
              <a:bodyPr wrap="square" lIns="72000" tIns="0" rIns="72000" bIns="0" rtlCol="0" anchor="b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25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8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uzano Sans" panose="02010503030508060203" pitchFamily="2" charset="0"/>
                    <a:ea typeface="+mn-ea"/>
                    <a:cs typeface="+mn-cs"/>
                  </a:rPr>
                  <a:t>Papel e embalagem </a:t>
                </a:r>
              </a:p>
            </p:txBody>
          </p:sp>
          <p:grpSp>
            <p:nvGrpSpPr>
              <p:cNvPr id="85" name="Agrupar 84">
                <a:extLst>
                  <a:ext uri="{FF2B5EF4-FFF2-40B4-BE49-F238E27FC236}">
                    <a16:creationId xmlns:a16="http://schemas.microsoft.com/office/drawing/2014/main" id="{A280196C-8084-46FC-9680-0740C95CB1F9}"/>
                  </a:ext>
                </a:extLst>
              </p:cNvPr>
              <p:cNvGrpSpPr/>
              <p:nvPr/>
            </p:nvGrpSpPr>
            <p:grpSpPr>
              <a:xfrm>
                <a:off x="3496798" y="2784507"/>
                <a:ext cx="2158966" cy="2116518"/>
                <a:chOff x="3496798" y="2548773"/>
                <a:chExt cx="2158966" cy="2116518"/>
              </a:xfrm>
            </p:grpSpPr>
            <p:sp>
              <p:nvSpPr>
                <p:cNvPr id="33" name="Elipse 32">
                  <a:extLst>
                    <a:ext uri="{FF2B5EF4-FFF2-40B4-BE49-F238E27FC236}">
                      <a16:creationId xmlns:a16="http://schemas.microsoft.com/office/drawing/2014/main" id="{FE1FB672-A970-4934-BE13-0F90BD17526E}"/>
                    </a:ext>
                  </a:extLst>
                </p:cNvPr>
                <p:cNvSpPr/>
                <p:nvPr/>
              </p:nvSpPr>
              <p:spPr>
                <a:xfrm>
                  <a:off x="3496798" y="2548773"/>
                  <a:ext cx="969474" cy="96947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54" name="Agrupar 53">
                  <a:extLst>
                    <a:ext uri="{FF2B5EF4-FFF2-40B4-BE49-F238E27FC236}">
                      <a16:creationId xmlns:a16="http://schemas.microsoft.com/office/drawing/2014/main" id="{18E59B7B-588A-424A-983F-BEC878741DA7}"/>
                    </a:ext>
                  </a:extLst>
                </p:cNvPr>
                <p:cNvGrpSpPr/>
                <p:nvPr/>
              </p:nvGrpSpPr>
              <p:grpSpPr>
                <a:xfrm>
                  <a:off x="4686290" y="3695817"/>
                  <a:ext cx="969474" cy="969474"/>
                  <a:chOff x="4591347" y="5278296"/>
                  <a:chExt cx="1095478" cy="1095478"/>
                </a:xfrm>
              </p:grpSpPr>
              <p:sp>
                <p:nvSpPr>
                  <p:cNvPr id="36" name="Elipse 35">
                    <a:extLst>
                      <a:ext uri="{FF2B5EF4-FFF2-40B4-BE49-F238E27FC236}">
                        <a16:creationId xmlns:a16="http://schemas.microsoft.com/office/drawing/2014/main" id="{B2315E39-2E94-4E3D-BD45-8E2354A5DEFA}"/>
                      </a:ext>
                    </a:extLst>
                  </p:cNvPr>
                  <p:cNvSpPr/>
                  <p:nvPr/>
                </p:nvSpPr>
                <p:spPr>
                  <a:xfrm>
                    <a:off x="4591347" y="5278296"/>
                    <a:ext cx="1095478" cy="1095478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  <p:pic>
                <p:nvPicPr>
                  <p:cNvPr id="28" name="Imagem 27">
                    <a:extLst>
                      <a:ext uri="{FF2B5EF4-FFF2-40B4-BE49-F238E27FC236}">
                        <a16:creationId xmlns:a16="http://schemas.microsoft.com/office/drawing/2014/main" id="{FCBA273E-3DE9-4B2A-9523-BE321B6E36F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3">
                    <a:extLst>
                      <a:ext uri="{BEBA8EAE-BF5A-486C-A8C5-ECC9F3942E4B}">
                        <a14:imgProps xmlns:a14="http://schemas.microsoft.com/office/drawing/2010/main">
                          <a14:imgLayer r:embed="rId14">
                            <a14:imgEffect>
                              <a14:brightnessContrast bright="-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0382" r="8699" b="-1075"/>
                  <a:stretch/>
                </p:blipFill>
                <p:spPr>
                  <a:xfrm>
                    <a:off x="4704581" y="5657128"/>
                    <a:ext cx="892899" cy="404524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53" name="Agrupar 52">
                  <a:extLst>
                    <a:ext uri="{FF2B5EF4-FFF2-40B4-BE49-F238E27FC236}">
                      <a16:creationId xmlns:a16="http://schemas.microsoft.com/office/drawing/2014/main" id="{EE28B165-9846-44F1-94F2-4E101C922DA6}"/>
                    </a:ext>
                  </a:extLst>
                </p:cNvPr>
                <p:cNvGrpSpPr/>
                <p:nvPr/>
              </p:nvGrpSpPr>
              <p:grpSpPr>
                <a:xfrm>
                  <a:off x="3496798" y="3695817"/>
                  <a:ext cx="969474" cy="969474"/>
                  <a:chOff x="3334620" y="5278296"/>
                  <a:chExt cx="1095478" cy="1095478"/>
                </a:xfrm>
              </p:grpSpPr>
              <p:sp>
                <p:nvSpPr>
                  <p:cNvPr id="35" name="Elipse 34">
                    <a:extLst>
                      <a:ext uri="{FF2B5EF4-FFF2-40B4-BE49-F238E27FC236}">
                        <a16:creationId xmlns:a16="http://schemas.microsoft.com/office/drawing/2014/main" id="{5ED6B3BB-2DCB-418E-AC09-D40F098462A3}"/>
                      </a:ext>
                    </a:extLst>
                  </p:cNvPr>
                  <p:cNvSpPr/>
                  <p:nvPr/>
                </p:nvSpPr>
                <p:spPr>
                  <a:xfrm>
                    <a:off x="3334620" y="5278296"/>
                    <a:ext cx="1095478" cy="1095478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  <p:pic>
                <p:nvPicPr>
                  <p:cNvPr id="30" name="Picture 4" descr="Resultado de imagem para logo papel para canudo loop">
                    <a:extLst>
                      <a:ext uri="{FF2B5EF4-FFF2-40B4-BE49-F238E27FC236}">
                        <a16:creationId xmlns:a16="http://schemas.microsoft.com/office/drawing/2014/main" id="{CC1D4E9C-D3FD-4751-9E32-F3E669195F1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5323" t="29764" r="35058" b="34666"/>
                  <a:stretch/>
                </p:blipFill>
                <p:spPr bwMode="auto">
                  <a:xfrm>
                    <a:off x="3532413" y="5612151"/>
                    <a:ext cx="695566" cy="469865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2" name="Agrupar 51">
                  <a:extLst>
                    <a:ext uri="{FF2B5EF4-FFF2-40B4-BE49-F238E27FC236}">
                      <a16:creationId xmlns:a16="http://schemas.microsoft.com/office/drawing/2014/main" id="{1CCDDA6E-C6C0-4EAD-8E3B-83EEF6392034}"/>
                    </a:ext>
                  </a:extLst>
                </p:cNvPr>
                <p:cNvGrpSpPr/>
                <p:nvPr/>
              </p:nvGrpSpPr>
              <p:grpSpPr>
                <a:xfrm>
                  <a:off x="4686290" y="2548773"/>
                  <a:ext cx="969474" cy="969474"/>
                  <a:chOff x="4591347" y="4024261"/>
                  <a:chExt cx="1095478" cy="1095478"/>
                </a:xfrm>
              </p:grpSpPr>
              <p:sp>
                <p:nvSpPr>
                  <p:cNvPr id="34" name="Elipse 33">
                    <a:extLst>
                      <a:ext uri="{FF2B5EF4-FFF2-40B4-BE49-F238E27FC236}">
                        <a16:creationId xmlns:a16="http://schemas.microsoft.com/office/drawing/2014/main" id="{975272AB-24F2-4BB0-A899-7B153405B8C0}"/>
                      </a:ext>
                    </a:extLst>
                  </p:cNvPr>
                  <p:cNvSpPr/>
                  <p:nvPr/>
                </p:nvSpPr>
                <p:spPr>
                  <a:xfrm>
                    <a:off x="4591347" y="4024261"/>
                    <a:ext cx="1095478" cy="1095478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  <p:pic>
                <p:nvPicPr>
                  <p:cNvPr id="31" name="Imagem 30">
                    <a:extLst>
                      <a:ext uri="{FF2B5EF4-FFF2-40B4-BE49-F238E27FC236}">
                        <a16:creationId xmlns:a16="http://schemas.microsoft.com/office/drawing/2014/main" id="{60BC3041-5818-4F09-8C05-14C648C7B1F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48155" y="4301582"/>
                    <a:ext cx="581862" cy="473217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59" name="Conector reto 58">
                <a:extLst>
                  <a:ext uri="{FF2B5EF4-FFF2-40B4-BE49-F238E27FC236}">
                    <a16:creationId xmlns:a16="http://schemas.microsoft.com/office/drawing/2014/main" id="{4A88A93C-B073-4488-ACEB-0338547CA3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436" y="5072473"/>
                <a:ext cx="2153640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1" name="Agrupar 80">
                <a:extLst>
                  <a:ext uri="{FF2B5EF4-FFF2-40B4-BE49-F238E27FC236}">
                    <a16:creationId xmlns:a16="http://schemas.microsoft.com/office/drawing/2014/main" id="{73DA58BC-DA7A-4267-AF04-218C83E47351}"/>
                  </a:ext>
                </a:extLst>
              </p:cNvPr>
              <p:cNvGrpSpPr/>
              <p:nvPr/>
            </p:nvGrpSpPr>
            <p:grpSpPr>
              <a:xfrm>
                <a:off x="3489981" y="5224841"/>
                <a:ext cx="2166550" cy="494911"/>
                <a:chOff x="3489981" y="5473023"/>
                <a:chExt cx="2166550" cy="494911"/>
              </a:xfrm>
            </p:grpSpPr>
            <p:sp>
              <p:nvSpPr>
                <p:cNvPr id="74" name="CaixaDeTexto 73">
                  <a:extLst>
                    <a:ext uri="{FF2B5EF4-FFF2-40B4-BE49-F238E27FC236}">
                      <a16:creationId xmlns:a16="http://schemas.microsoft.com/office/drawing/2014/main" id="{D1816250-1B21-41D6-8B83-6481647C5D3A}"/>
                    </a:ext>
                  </a:extLst>
                </p:cNvPr>
                <p:cNvSpPr txBox="1"/>
                <p:nvPr/>
              </p:nvSpPr>
              <p:spPr>
                <a:xfrm flipH="1">
                  <a:off x="3489981" y="5473023"/>
                  <a:ext cx="2166550" cy="320601"/>
                </a:xfrm>
                <a:prstGeom prst="rect">
                  <a:avLst/>
                </a:prstGeom>
                <a:noFill/>
              </p:spPr>
              <p:txBody>
                <a:bodyPr wrap="square" lIns="72000" tIns="0" rIns="72000" bIns="0" rtlCol="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25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2400" b="1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uzano Sans" panose="02010503030508060203" pitchFamily="2" charset="0"/>
                      <a:ea typeface="+mn-ea"/>
                      <a:cs typeface="+mn-cs"/>
                    </a:rPr>
                    <a:t>1,4 milhão</a:t>
                  </a:r>
                </a:p>
              </p:txBody>
            </p:sp>
            <p:sp>
              <p:nvSpPr>
                <p:cNvPr id="77" name="CaixaDeTexto 76">
                  <a:extLst>
                    <a:ext uri="{FF2B5EF4-FFF2-40B4-BE49-F238E27FC236}">
                      <a16:creationId xmlns:a16="http://schemas.microsoft.com/office/drawing/2014/main" id="{97EA89E0-0EFF-4E29-878A-570023703C1E}"/>
                    </a:ext>
                  </a:extLst>
                </p:cNvPr>
                <p:cNvSpPr txBox="1"/>
                <p:nvPr/>
              </p:nvSpPr>
              <p:spPr>
                <a:xfrm flipH="1">
                  <a:off x="3718018" y="5783268"/>
                  <a:ext cx="1710476" cy="184666"/>
                </a:xfrm>
                <a:prstGeom prst="rect">
                  <a:avLst/>
                </a:prstGeom>
                <a:noFill/>
              </p:spPr>
              <p:txBody>
                <a:bodyPr wrap="square" lIns="72000" tIns="0" rIns="72000" bIns="0" rtlCol="0" anchor="ctr" anchorCtr="0">
                  <a:spAutoFit/>
                </a:bodyPr>
                <a:lstStyle/>
                <a:p>
                  <a:pPr lvl="0" algn="ctr">
                    <a:defRPr/>
                  </a:pPr>
                  <a:r>
                    <a:rPr lang="pt-BR" sz="1200" dirty="0">
                      <a:solidFill>
                        <a:prstClr val="white"/>
                      </a:solidFill>
                      <a:latin typeface="Suzano Sans" panose="02010503030508060203" pitchFamily="2" charset="0"/>
                    </a:rPr>
                    <a:t>TON/ANO*</a:t>
                  </a:r>
                </a:p>
              </p:txBody>
            </p:sp>
          </p:grpSp>
        </p:grpSp>
        <p:pic>
          <p:nvPicPr>
            <p:cNvPr id="1026" name="Imagem 2">
              <a:extLst>
                <a:ext uri="{FF2B5EF4-FFF2-40B4-BE49-F238E27FC236}">
                  <a16:creationId xmlns:a16="http://schemas.microsoft.com/office/drawing/2014/main" id="{91786C0C-9132-480B-8E9B-3A68D4B94E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6897" y="3173450"/>
              <a:ext cx="769925" cy="226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9D77B4FA-39D8-48C9-AA98-F730E5296824}"/>
              </a:ext>
            </a:extLst>
          </p:cNvPr>
          <p:cNvGrpSpPr/>
          <p:nvPr/>
        </p:nvGrpSpPr>
        <p:grpSpPr>
          <a:xfrm>
            <a:off x="9408001" y="1805186"/>
            <a:ext cx="3061514" cy="4160896"/>
            <a:chOff x="9408001" y="1805186"/>
            <a:chExt cx="3061514" cy="4160896"/>
          </a:xfrm>
        </p:grpSpPr>
        <p:sp>
          <p:nvSpPr>
            <p:cNvPr id="84" name="CaixaDeTexto 83">
              <a:extLst>
                <a:ext uri="{FF2B5EF4-FFF2-40B4-BE49-F238E27FC236}">
                  <a16:creationId xmlns:a16="http://schemas.microsoft.com/office/drawing/2014/main" id="{746850E9-8308-4864-9933-44CF184D27EA}"/>
                </a:ext>
              </a:extLst>
            </p:cNvPr>
            <p:cNvSpPr txBox="1"/>
            <p:nvPr/>
          </p:nvSpPr>
          <p:spPr>
            <a:xfrm>
              <a:off x="10242576" y="5704472"/>
              <a:ext cx="183880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100" dirty="0">
                  <a:solidFill>
                    <a:schemeClr val="bg1"/>
                  </a:solidFill>
                  <a:latin typeface="Suzano Sans" panose="02010503030508060203" pitchFamily="2" charset="0"/>
                </a:rPr>
                <a:t>*</a:t>
              </a: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alpha val="75000"/>
                    </a:schemeClr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 </a:t>
              </a:r>
              <a:r>
                <a:rPr lang="pt-BR" sz="1100" dirty="0">
                  <a:solidFill>
                    <a:schemeClr val="bg1"/>
                  </a:solidFill>
                  <a:latin typeface="Suzano Sans" panose="02010503030508060203" pitchFamily="2" charset="0"/>
                </a:rPr>
                <a:t>Capacidade</a:t>
              </a: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alpha val="75000"/>
                    </a:schemeClr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 </a:t>
              </a:r>
              <a:r>
                <a:rPr lang="pt-BR" sz="1100" dirty="0">
                  <a:solidFill>
                    <a:schemeClr val="bg1"/>
                  </a:solidFill>
                  <a:latin typeface="Suzano Sans" panose="02010503030508060203" pitchFamily="2" charset="0"/>
                </a:rPr>
                <a:t>instalada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F37FDF90-2C4B-455F-9D2F-099E34BF3E2F}"/>
                </a:ext>
              </a:extLst>
            </p:cNvPr>
            <p:cNvSpPr txBox="1"/>
            <p:nvPr/>
          </p:nvSpPr>
          <p:spPr>
            <a:xfrm flipH="1">
              <a:off x="9408001" y="1805186"/>
              <a:ext cx="2520000" cy="643509"/>
            </a:xfrm>
            <a:prstGeom prst="rect">
              <a:avLst/>
            </a:prstGeom>
            <a:noFill/>
          </p:spPr>
          <p:txBody>
            <a:bodyPr wrap="square" lIns="72000" tIns="0" rIns="72000" bIns="0" rtlCol="0" anchor="b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uzano Sans" panose="02010503030508060203" pitchFamily="2" charset="0"/>
                  <a:ea typeface="+mn-ea"/>
                  <a:cs typeface="+mn-cs"/>
                </a:rPr>
                <a:t>Mais alguns números**</a:t>
              </a:r>
            </a:p>
          </p:txBody>
        </p:sp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2BAAC7F2-3376-45F0-A463-43E68F3259B8}"/>
                </a:ext>
              </a:extLst>
            </p:cNvPr>
            <p:cNvGrpSpPr/>
            <p:nvPr/>
          </p:nvGrpSpPr>
          <p:grpSpPr>
            <a:xfrm>
              <a:off x="9609680" y="2800567"/>
              <a:ext cx="2123873" cy="972000"/>
              <a:chOff x="9609680" y="2785577"/>
              <a:chExt cx="2123873" cy="972000"/>
            </a:xfrm>
          </p:grpSpPr>
          <p:sp>
            <p:nvSpPr>
              <p:cNvPr id="41" name="Elipse 40">
                <a:extLst>
                  <a:ext uri="{FF2B5EF4-FFF2-40B4-BE49-F238E27FC236}">
                    <a16:creationId xmlns:a16="http://schemas.microsoft.com/office/drawing/2014/main" id="{B7ABFE85-3689-453B-854A-03D12C16259C}"/>
                  </a:ext>
                </a:extLst>
              </p:cNvPr>
              <p:cNvSpPr/>
              <p:nvPr/>
            </p:nvSpPr>
            <p:spPr>
              <a:xfrm>
                <a:off x="9609680" y="2785577"/>
                <a:ext cx="972000" cy="9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1600" dirty="0">
                    <a:solidFill>
                      <a:srgbClr val="36A873"/>
                    </a:solidFill>
                    <a:latin typeface="Suzano Sans" panose="02010503030508060203" pitchFamily="2" charset="0"/>
                  </a:rPr>
                  <a:t>R$ +30B</a:t>
                </a:r>
              </a:p>
            </p:txBody>
          </p:sp>
          <p:sp>
            <p:nvSpPr>
              <p:cNvPr id="63" name="Elipse 62">
                <a:extLst>
                  <a:ext uri="{FF2B5EF4-FFF2-40B4-BE49-F238E27FC236}">
                    <a16:creationId xmlns:a16="http://schemas.microsoft.com/office/drawing/2014/main" id="{46C15E57-8B67-46C6-9374-30A82FC3C3CE}"/>
                  </a:ext>
                </a:extLst>
              </p:cNvPr>
              <p:cNvSpPr/>
              <p:nvPr/>
            </p:nvSpPr>
            <p:spPr>
              <a:xfrm>
                <a:off x="10761553" y="2785577"/>
                <a:ext cx="972000" cy="9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1600" dirty="0">
                    <a:solidFill>
                      <a:srgbClr val="36A873"/>
                    </a:solidFill>
                    <a:latin typeface="Suzano Sans" panose="02010503030508060203" pitchFamily="2" charset="0"/>
                  </a:rPr>
                  <a:t>R$ </a:t>
                </a:r>
              </a:p>
              <a:p>
                <a:pPr algn="ctr"/>
                <a:r>
                  <a:rPr lang="pt-BR" sz="1600" dirty="0">
                    <a:solidFill>
                      <a:srgbClr val="36A873"/>
                    </a:solidFill>
                    <a:latin typeface="Suzano Sans" panose="02010503030508060203" pitchFamily="2" charset="0"/>
                  </a:rPr>
                  <a:t>+11B</a:t>
                </a:r>
              </a:p>
            </p:txBody>
          </p:sp>
        </p:grpSp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AD67A022-E11A-4736-BFCF-A02558B8B152}"/>
                </a:ext>
              </a:extLst>
            </p:cNvPr>
            <p:cNvSpPr txBox="1"/>
            <p:nvPr/>
          </p:nvSpPr>
          <p:spPr>
            <a:xfrm>
              <a:off x="10242576" y="5454227"/>
              <a:ext cx="222693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solidFill>
                    <a:schemeClr val="bg1"/>
                  </a:solidFill>
                  <a:latin typeface="Suzano Sans" panose="02010503030508060203" pitchFamily="2" charset="0"/>
                </a:rPr>
                <a:t>** Ano de referência 2020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B6C4FC80-C859-45C8-BF4B-0AEFE41E3B53}"/>
                </a:ext>
              </a:extLst>
            </p:cNvPr>
            <p:cNvSpPr txBox="1"/>
            <p:nvPr/>
          </p:nvSpPr>
          <p:spPr>
            <a:xfrm>
              <a:off x="9609680" y="3748762"/>
              <a:ext cx="972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/>
                  </a:solidFill>
                  <a:latin typeface="Suzano Sans" panose="02010503030508060203" pitchFamily="2" charset="0"/>
                </a:rPr>
                <a:t>Receita líquida</a:t>
              </a:r>
            </a:p>
          </p:txBody>
        </p:sp>
        <p:sp>
          <p:nvSpPr>
            <p:cNvPr id="87" name="CaixaDeTexto 86">
              <a:extLst>
                <a:ext uri="{FF2B5EF4-FFF2-40B4-BE49-F238E27FC236}">
                  <a16:creationId xmlns:a16="http://schemas.microsoft.com/office/drawing/2014/main" id="{99782EC0-5FA3-4504-A893-955D94480717}"/>
                </a:ext>
              </a:extLst>
            </p:cNvPr>
            <p:cNvSpPr txBox="1"/>
            <p:nvPr/>
          </p:nvSpPr>
          <p:spPr>
            <a:xfrm>
              <a:off x="10533581" y="3767773"/>
              <a:ext cx="141993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/>
                  </a:solidFill>
                  <a:latin typeface="Suzano Sans" panose="02010503030508060203" pitchFamily="2" charset="0"/>
                </a:rPr>
                <a:t>Geração de caixa operacion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9950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33333E-6 L 0 -0.3298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50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8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4" accel="49000" decel="49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accel="49000" decel="49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accel="49000" decel="49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accel="51000" decel="49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1" accel="49333" decel="5066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9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C6792226-5937-4B46-B7B5-BB4973CA02B3}"/>
              </a:ext>
            </a:extLst>
          </p:cNvPr>
          <p:cNvCxnSpPr>
            <a:cxnSpLocks/>
          </p:cNvCxnSpPr>
          <p:nvPr/>
        </p:nvCxnSpPr>
        <p:spPr>
          <a:xfrm flipH="1">
            <a:off x="2646602" y="-121112"/>
            <a:ext cx="6882708" cy="7104743"/>
          </a:xfrm>
          <a:prstGeom prst="line">
            <a:avLst/>
          </a:prstGeom>
          <a:ln w="22225" cap="rnd">
            <a:solidFill>
              <a:srgbClr val="1FA13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elogramo 8">
            <a:extLst>
              <a:ext uri="{FF2B5EF4-FFF2-40B4-BE49-F238E27FC236}">
                <a16:creationId xmlns:a16="http://schemas.microsoft.com/office/drawing/2014/main" id="{4E0DEB48-F8D6-4427-A5FE-D48C862C55CF}"/>
              </a:ext>
            </a:extLst>
          </p:cNvPr>
          <p:cNvSpPr/>
          <p:nvPr/>
        </p:nvSpPr>
        <p:spPr>
          <a:xfrm>
            <a:off x="-196092" y="-117432"/>
            <a:ext cx="9715778" cy="7097384"/>
          </a:xfrm>
          <a:custGeom>
            <a:avLst/>
            <a:gdLst>
              <a:gd name="connsiteX0" fmla="*/ 0 w 9713200"/>
              <a:gd name="connsiteY0" fmla="*/ 6858000 h 6858000"/>
              <a:gd name="connsiteX1" fmla="*/ 6837837 w 9713200"/>
              <a:gd name="connsiteY1" fmla="*/ 0 h 6858000"/>
              <a:gd name="connsiteX2" fmla="*/ 9713200 w 9713200"/>
              <a:gd name="connsiteY2" fmla="*/ 0 h 6858000"/>
              <a:gd name="connsiteX3" fmla="*/ 2875363 w 9713200"/>
              <a:gd name="connsiteY3" fmla="*/ 6858000 h 6858000"/>
              <a:gd name="connsiteX4" fmla="*/ 0 w 9713200"/>
              <a:gd name="connsiteY4" fmla="*/ 6858000 h 6858000"/>
              <a:gd name="connsiteX0" fmla="*/ 2578 w 9715778"/>
              <a:gd name="connsiteY0" fmla="*/ 6875585 h 6875585"/>
              <a:gd name="connsiteX1" fmla="*/ 0 w 9715778"/>
              <a:gd name="connsiteY1" fmla="*/ 0 h 6875585"/>
              <a:gd name="connsiteX2" fmla="*/ 9715778 w 9715778"/>
              <a:gd name="connsiteY2" fmla="*/ 17585 h 6875585"/>
              <a:gd name="connsiteX3" fmla="*/ 2877941 w 9715778"/>
              <a:gd name="connsiteY3" fmla="*/ 6875585 h 6875585"/>
              <a:gd name="connsiteX4" fmla="*/ 2578 w 9715778"/>
              <a:gd name="connsiteY4" fmla="*/ 6875585 h 6875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15778" h="6875585">
                <a:moveTo>
                  <a:pt x="2578" y="6875585"/>
                </a:moveTo>
                <a:cubicBezTo>
                  <a:pt x="1719" y="4583723"/>
                  <a:pt x="859" y="2291862"/>
                  <a:pt x="0" y="0"/>
                </a:cubicBezTo>
                <a:lnTo>
                  <a:pt x="9715778" y="17585"/>
                </a:lnTo>
                <a:lnTo>
                  <a:pt x="2877941" y="6875585"/>
                </a:lnTo>
                <a:lnTo>
                  <a:pt x="2578" y="6875585"/>
                </a:lnTo>
                <a:close/>
              </a:path>
            </a:pathLst>
          </a:custGeom>
          <a:solidFill>
            <a:srgbClr val="1FA1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Paralelogramo 8">
            <a:extLst>
              <a:ext uri="{FF2B5EF4-FFF2-40B4-BE49-F238E27FC236}">
                <a16:creationId xmlns:a16="http://schemas.microsoft.com/office/drawing/2014/main" id="{F8EE2070-A4CE-473C-883F-739C459FF940}"/>
              </a:ext>
            </a:extLst>
          </p:cNvPr>
          <p:cNvSpPr/>
          <p:nvPr/>
        </p:nvSpPr>
        <p:spPr>
          <a:xfrm rot="10800000">
            <a:off x="2677085" y="-117432"/>
            <a:ext cx="9715778" cy="7097384"/>
          </a:xfrm>
          <a:custGeom>
            <a:avLst/>
            <a:gdLst>
              <a:gd name="connsiteX0" fmla="*/ 0 w 9713200"/>
              <a:gd name="connsiteY0" fmla="*/ 6858000 h 6858000"/>
              <a:gd name="connsiteX1" fmla="*/ 6837837 w 9713200"/>
              <a:gd name="connsiteY1" fmla="*/ 0 h 6858000"/>
              <a:gd name="connsiteX2" fmla="*/ 9713200 w 9713200"/>
              <a:gd name="connsiteY2" fmla="*/ 0 h 6858000"/>
              <a:gd name="connsiteX3" fmla="*/ 2875363 w 9713200"/>
              <a:gd name="connsiteY3" fmla="*/ 6858000 h 6858000"/>
              <a:gd name="connsiteX4" fmla="*/ 0 w 9713200"/>
              <a:gd name="connsiteY4" fmla="*/ 6858000 h 6858000"/>
              <a:gd name="connsiteX0" fmla="*/ 2578 w 9715778"/>
              <a:gd name="connsiteY0" fmla="*/ 6875585 h 6875585"/>
              <a:gd name="connsiteX1" fmla="*/ 0 w 9715778"/>
              <a:gd name="connsiteY1" fmla="*/ 0 h 6875585"/>
              <a:gd name="connsiteX2" fmla="*/ 9715778 w 9715778"/>
              <a:gd name="connsiteY2" fmla="*/ 17585 h 6875585"/>
              <a:gd name="connsiteX3" fmla="*/ 2877941 w 9715778"/>
              <a:gd name="connsiteY3" fmla="*/ 6875585 h 6875585"/>
              <a:gd name="connsiteX4" fmla="*/ 2578 w 9715778"/>
              <a:gd name="connsiteY4" fmla="*/ 6875585 h 6875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15778" h="6875585">
                <a:moveTo>
                  <a:pt x="2578" y="6875585"/>
                </a:moveTo>
                <a:cubicBezTo>
                  <a:pt x="1719" y="4583723"/>
                  <a:pt x="859" y="2291862"/>
                  <a:pt x="0" y="0"/>
                </a:cubicBezTo>
                <a:lnTo>
                  <a:pt x="9715778" y="17585"/>
                </a:lnTo>
                <a:lnTo>
                  <a:pt x="2877941" y="6875585"/>
                </a:lnTo>
                <a:lnTo>
                  <a:pt x="2578" y="6875585"/>
                </a:lnTo>
                <a:close/>
              </a:path>
            </a:pathLst>
          </a:custGeom>
          <a:solidFill>
            <a:srgbClr val="1FA1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Imagem 11" descr="Uma imagem contendo pessoa, no interior, segurando, homem&#10;&#10;Descrição gerada automaticamente">
            <a:extLst>
              <a:ext uri="{FF2B5EF4-FFF2-40B4-BE49-F238E27FC236}">
                <a16:creationId xmlns:a16="http://schemas.microsoft.com/office/drawing/2014/main" id="{BED77C8F-ADA2-439C-8439-AFEAF22AE302}"/>
              </a:ext>
            </a:extLst>
          </p:cNvPr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15326" y="1978210"/>
            <a:ext cx="2848460" cy="2848460"/>
          </a:xfrm>
          <a:prstGeom prst="ellipse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2D42155B-EE31-4561-B641-565D090EACC1}"/>
              </a:ext>
            </a:extLst>
          </p:cNvPr>
          <p:cNvPicPr>
            <a:picLocks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315" y="5133991"/>
            <a:ext cx="1930048" cy="1930048"/>
          </a:xfrm>
          <a:prstGeom prst="ellipse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7381017D-B06C-4F09-B441-00F8CDC3DCBE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8755" y="4833722"/>
            <a:ext cx="2425024" cy="2425024"/>
          </a:xfrm>
          <a:prstGeom prst="ellipse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41AE8828-2F8B-4424-B7A0-D39E4ABD09FC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2956830" y="2616831"/>
            <a:ext cx="1930048" cy="1930048"/>
          </a:xfrm>
          <a:prstGeom prst="ellipse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9F55D35-1705-4B88-B186-23CD8E5AFD35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1931" y="1674399"/>
            <a:ext cx="2810118" cy="2810118"/>
          </a:xfrm>
          <a:prstGeom prst="ellipse">
            <a:avLst/>
          </a:prstGeom>
        </p:spPr>
      </p:pic>
      <p:sp>
        <p:nvSpPr>
          <p:cNvPr id="24" name="Arco 23">
            <a:extLst>
              <a:ext uri="{FF2B5EF4-FFF2-40B4-BE49-F238E27FC236}">
                <a16:creationId xmlns:a16="http://schemas.microsoft.com/office/drawing/2014/main" id="{FF9DFE4B-3934-4563-AA61-2F127588590E}"/>
              </a:ext>
            </a:extLst>
          </p:cNvPr>
          <p:cNvSpPr/>
          <p:nvPr/>
        </p:nvSpPr>
        <p:spPr>
          <a:xfrm>
            <a:off x="-580057" y="1813480"/>
            <a:ext cx="3177922" cy="3177920"/>
          </a:xfrm>
          <a:prstGeom prst="arc">
            <a:avLst>
              <a:gd name="adj1" fmla="val 15948370"/>
              <a:gd name="adj2" fmla="val 12927766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Arco 27">
            <a:extLst>
              <a:ext uri="{FF2B5EF4-FFF2-40B4-BE49-F238E27FC236}">
                <a16:creationId xmlns:a16="http://schemas.microsoft.com/office/drawing/2014/main" id="{D71D081D-D1C6-431D-A396-0FCAAD67EC12}"/>
              </a:ext>
            </a:extLst>
          </p:cNvPr>
          <p:cNvSpPr/>
          <p:nvPr/>
        </p:nvSpPr>
        <p:spPr>
          <a:xfrm>
            <a:off x="866697" y="5022374"/>
            <a:ext cx="2153284" cy="2153282"/>
          </a:xfrm>
          <a:prstGeom prst="arc">
            <a:avLst>
              <a:gd name="adj1" fmla="val 15948370"/>
              <a:gd name="adj2" fmla="val 12927766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Arco 32">
            <a:extLst>
              <a:ext uri="{FF2B5EF4-FFF2-40B4-BE49-F238E27FC236}">
                <a16:creationId xmlns:a16="http://schemas.microsoft.com/office/drawing/2014/main" id="{90708563-1B90-4B75-872A-220F86C0CD1C}"/>
              </a:ext>
            </a:extLst>
          </p:cNvPr>
          <p:cNvSpPr/>
          <p:nvPr/>
        </p:nvSpPr>
        <p:spPr>
          <a:xfrm>
            <a:off x="3678512" y="4693480"/>
            <a:ext cx="2705510" cy="2705508"/>
          </a:xfrm>
          <a:prstGeom prst="arc">
            <a:avLst>
              <a:gd name="adj1" fmla="val 15948370"/>
              <a:gd name="adj2" fmla="val 12927766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Arco 37">
            <a:extLst>
              <a:ext uri="{FF2B5EF4-FFF2-40B4-BE49-F238E27FC236}">
                <a16:creationId xmlns:a16="http://schemas.microsoft.com/office/drawing/2014/main" id="{ACE9B227-1AC8-44DD-B453-744C26C6EAC8}"/>
              </a:ext>
            </a:extLst>
          </p:cNvPr>
          <p:cNvSpPr/>
          <p:nvPr/>
        </p:nvSpPr>
        <p:spPr>
          <a:xfrm>
            <a:off x="2845212" y="2505214"/>
            <a:ext cx="2153284" cy="2153282"/>
          </a:xfrm>
          <a:prstGeom prst="arc">
            <a:avLst>
              <a:gd name="adj1" fmla="val 15948370"/>
              <a:gd name="adj2" fmla="val 12927766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Arco 41">
            <a:extLst>
              <a:ext uri="{FF2B5EF4-FFF2-40B4-BE49-F238E27FC236}">
                <a16:creationId xmlns:a16="http://schemas.microsoft.com/office/drawing/2014/main" id="{3507C405-98E4-418B-BC0B-E7E7F4F26FC3}"/>
              </a:ext>
            </a:extLst>
          </p:cNvPr>
          <p:cNvSpPr/>
          <p:nvPr/>
        </p:nvSpPr>
        <p:spPr>
          <a:xfrm>
            <a:off x="5239417" y="1511886"/>
            <a:ext cx="3135146" cy="3135144"/>
          </a:xfrm>
          <a:prstGeom prst="arc">
            <a:avLst>
              <a:gd name="adj1" fmla="val 15948370"/>
              <a:gd name="adj2" fmla="val 12927766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5473ACD8-75E9-434C-9DC0-734384993CB2}"/>
              </a:ext>
            </a:extLst>
          </p:cNvPr>
          <p:cNvSpPr txBox="1"/>
          <p:nvPr/>
        </p:nvSpPr>
        <p:spPr>
          <a:xfrm>
            <a:off x="493893" y="388155"/>
            <a:ext cx="4703205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8800" err="1">
                <a:solidFill>
                  <a:schemeClr val="bg1"/>
                </a:solidFill>
                <a:latin typeface="Zooja Pro" panose="03060300040001000000" pitchFamily="66" charset="0"/>
              </a:rPr>
              <a:t>fazemos</a:t>
            </a:r>
            <a:r>
              <a:rPr lang="en-US" sz="8800">
                <a:solidFill>
                  <a:schemeClr val="bg1"/>
                </a:solidFill>
                <a:latin typeface="Zooja Pro" panose="03060300040001000000" pitchFamily="66" charset="0"/>
              </a:rPr>
              <a:t> </a:t>
            </a:r>
            <a:r>
              <a:rPr lang="en-US" sz="8800" err="1">
                <a:solidFill>
                  <a:schemeClr val="bg1"/>
                </a:solidFill>
                <a:latin typeface="Zooja Pro" panose="03060300040001000000" pitchFamily="66" charset="0"/>
              </a:rPr>
              <a:t>parte</a:t>
            </a:r>
            <a:endParaRPr lang="pt-BR" sz="8800">
              <a:solidFill>
                <a:schemeClr val="bg1"/>
              </a:solidFill>
              <a:latin typeface="Zooja Pro" panose="03060300040001000000" pitchFamily="66" charset="0"/>
            </a:endParaRP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EB424FB1-B353-4C92-9A0B-4323DCBC248B}"/>
              </a:ext>
            </a:extLst>
          </p:cNvPr>
          <p:cNvSpPr txBox="1"/>
          <p:nvPr/>
        </p:nvSpPr>
        <p:spPr>
          <a:xfrm>
            <a:off x="865769" y="213381"/>
            <a:ext cx="8819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>
                <a:latin typeface="Suzano Sans"/>
              </a:rPr>
              <a:t>Nós</a:t>
            </a:r>
            <a:endParaRPr lang="pt-BR" sz="2400">
              <a:latin typeface="Suzano Sans" panose="02010503030508060203" pitchFamily="2" charset="0"/>
              <a:ea typeface="Source Sans Pro" panose="020B0503030403020204" pitchFamily="34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4F1F2191-3D76-4C07-95D0-09798FBA8443}"/>
              </a:ext>
            </a:extLst>
          </p:cNvPr>
          <p:cNvSpPr txBox="1"/>
          <p:nvPr/>
        </p:nvSpPr>
        <p:spPr>
          <a:xfrm>
            <a:off x="3493709" y="1219704"/>
            <a:ext cx="33906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>
                <a:latin typeface="Suzano Sans"/>
              </a:rPr>
              <a:t>da sua vida hoje...</a:t>
            </a:r>
            <a:endParaRPr lang="pt-BR" sz="2400">
              <a:latin typeface="Suzano Sans" panose="02010503030508060203" pitchFamily="2" charset="0"/>
              <a:ea typeface="Source Sans Pro" panose="020B0503030403020204" pitchFamily="34" charset="0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BEC83B7E-B554-4FD3-86DA-500669CA400D}"/>
              </a:ext>
            </a:extLst>
          </p:cNvPr>
          <p:cNvSpPr txBox="1"/>
          <p:nvPr/>
        </p:nvSpPr>
        <p:spPr>
          <a:xfrm>
            <a:off x="8540253" y="1680895"/>
            <a:ext cx="2583284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8800">
                <a:solidFill>
                  <a:schemeClr val="bg1"/>
                </a:solidFill>
                <a:latin typeface="Zooja Pro" panose="03060300040001000000" pitchFamily="66" charset="0"/>
              </a:rPr>
              <a:t>+de 20</a:t>
            </a:r>
            <a:endParaRPr lang="pt-BR" sz="8800">
              <a:solidFill>
                <a:schemeClr val="bg1"/>
              </a:solidFill>
              <a:latin typeface="Zooja Pro" panose="03060300040001000000" pitchFamily="66" charset="0"/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F21F5D73-3850-40C9-AB19-48BDF2843260}"/>
              </a:ext>
            </a:extLst>
          </p:cNvPr>
          <p:cNvSpPr txBox="1"/>
          <p:nvPr/>
        </p:nvSpPr>
        <p:spPr>
          <a:xfrm>
            <a:off x="9231225" y="2615336"/>
            <a:ext cx="28499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latin typeface="Suzano Sans"/>
              </a:rPr>
              <a:t>marcas para saúde, higiene, imprimir e escrever, embalagens e produtos descartáveis. </a:t>
            </a: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81F4710E-A86F-4B99-9ECF-5AF1BC53C688}"/>
              </a:ext>
            </a:extLst>
          </p:cNvPr>
          <p:cNvSpPr txBox="1"/>
          <p:nvPr/>
        </p:nvSpPr>
        <p:spPr>
          <a:xfrm>
            <a:off x="7827967" y="5368053"/>
            <a:ext cx="3943739" cy="13542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8800">
                <a:solidFill>
                  <a:schemeClr val="bg1"/>
                </a:solidFill>
                <a:latin typeface="Zooja Pro" panose="03060300040001000000" pitchFamily="66" charset="0"/>
              </a:rPr>
              <a:t>+2 </a:t>
            </a:r>
            <a:r>
              <a:rPr lang="en-US" sz="8800" err="1">
                <a:solidFill>
                  <a:schemeClr val="bg1"/>
                </a:solidFill>
                <a:latin typeface="Zooja Pro" panose="03060300040001000000" pitchFamily="66" charset="0"/>
              </a:rPr>
              <a:t>bilhões</a:t>
            </a:r>
            <a:endParaRPr lang="pt-BR" sz="8800">
              <a:solidFill>
                <a:schemeClr val="bg1"/>
              </a:solidFill>
              <a:latin typeface="Zooja Pro" panose="03060300040001000000" pitchFamily="66" charset="0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15A16AE5-733D-4EC8-B8BC-F63EDD4170FE}"/>
              </a:ext>
            </a:extLst>
          </p:cNvPr>
          <p:cNvSpPr txBox="1"/>
          <p:nvPr/>
        </p:nvSpPr>
        <p:spPr>
          <a:xfrm>
            <a:off x="7783311" y="6205530"/>
            <a:ext cx="31188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latin typeface="Suzano Sans"/>
              </a:rPr>
              <a:t>de pessoas com nossos produtos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3436CD6E-E1D9-45DC-B7A3-ADDB2560CB01}"/>
              </a:ext>
            </a:extLst>
          </p:cNvPr>
          <p:cNvSpPr txBox="1"/>
          <p:nvPr/>
        </p:nvSpPr>
        <p:spPr>
          <a:xfrm>
            <a:off x="7783311" y="5219219"/>
            <a:ext cx="18456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>
                <a:latin typeface="Suzano Sans"/>
              </a:rPr>
              <a:t>Impactamos</a:t>
            </a:r>
          </a:p>
        </p:txBody>
      </p:sp>
      <p:sp>
        <p:nvSpPr>
          <p:cNvPr id="56" name="Arco 55">
            <a:extLst>
              <a:ext uri="{FF2B5EF4-FFF2-40B4-BE49-F238E27FC236}">
                <a16:creationId xmlns:a16="http://schemas.microsoft.com/office/drawing/2014/main" id="{E599986D-CAFA-4CD8-B63D-080D208D39DF}"/>
              </a:ext>
            </a:extLst>
          </p:cNvPr>
          <p:cNvSpPr/>
          <p:nvPr/>
        </p:nvSpPr>
        <p:spPr>
          <a:xfrm>
            <a:off x="9106919" y="1236502"/>
            <a:ext cx="3597223" cy="3597220"/>
          </a:xfrm>
          <a:prstGeom prst="arc">
            <a:avLst>
              <a:gd name="adj1" fmla="val 13249464"/>
              <a:gd name="adj2" fmla="val 11543404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Arco 56">
            <a:extLst>
              <a:ext uri="{FF2B5EF4-FFF2-40B4-BE49-F238E27FC236}">
                <a16:creationId xmlns:a16="http://schemas.microsoft.com/office/drawing/2014/main" id="{02B6A733-1B79-4C70-94D5-DE122BDAAB15}"/>
              </a:ext>
            </a:extLst>
          </p:cNvPr>
          <p:cNvSpPr/>
          <p:nvPr/>
        </p:nvSpPr>
        <p:spPr>
          <a:xfrm>
            <a:off x="7182504" y="4558124"/>
            <a:ext cx="3597223" cy="3597220"/>
          </a:xfrm>
          <a:prstGeom prst="arc">
            <a:avLst>
              <a:gd name="adj1" fmla="val 273802"/>
              <a:gd name="adj2" fmla="val 19888701"/>
            </a:avLst>
          </a:prstGeom>
          <a:ln w="1905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08A12D39-49A3-48D1-9142-8FD531E0629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b="17644"/>
          <a:stretch/>
        </p:blipFill>
        <p:spPr>
          <a:xfrm>
            <a:off x="10097060" y="567516"/>
            <a:ext cx="1491454" cy="384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99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8" presetClass="entr" presetSubtype="3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75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10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7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45000" decel="55000" fill="hold" grpId="1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2" accel="45000" decel="55000" fill="hold" grpId="1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2" presetClass="exit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Effect transition="out" filter="wipe(down)">
                                          <p:cBhvr>
                                            <p:cTn id="2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2" presetClass="entr" presetSubtype="8" accel="40000" decel="52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2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3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4" presetID="2" presetClass="entr" presetSubtype="8" accel="40000" decel="5200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6" dur="9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7" dur="9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8" presetID="2" presetClass="entr" presetSubtype="8" accel="40000" decel="5200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0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1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8" accel="40000" decel="52000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4" dur="7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5" dur="7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2" presetClass="entr" presetSubtype="8" accel="40000" decel="5200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8" dur="6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9" dur="6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0" presetID="8" presetClass="emph" presetSubtype="0" accel="28000" fill="hold" nodeType="withEffect" p14:presetBounceEnd="52000">
                                      <p:stCondLst>
                                        <p:cond delay="1300"/>
                                      </p:stCondLst>
                                      <p:childTnLst>
                                        <p:animRot by="21600000" p14:bounceEnd="52000">
                                          <p:cBhvr>
                                            <p:cTn id="61" dur="1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2" presetID="8" presetClass="emph" presetSubtype="0" accel="28000" fill="hold" nodeType="withEffect" p14:presetBounceEnd="52000">
                                      <p:stCondLst>
                                        <p:cond delay="1200"/>
                                      </p:stCondLst>
                                      <p:childTnLst>
                                        <p:animRot by="21600000" p14:bounceEnd="52000">
                                          <p:cBhvr>
                                            <p:cTn id="63" dur="11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4" presetID="8" presetClass="emph" presetSubtype="0" accel="28000" fill="hold" nodeType="withEffect" p14:presetBounceEnd="52000">
                                      <p:stCondLst>
                                        <p:cond delay="1100"/>
                                      </p:stCondLst>
                                      <p:childTnLst>
                                        <p:animRot by="21600000" p14:bounceEnd="52000">
                                          <p:cBhvr>
                                            <p:cTn id="65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6" presetID="8" presetClass="emph" presetSubtype="0" accel="28000" fill="hold" nodeType="withEffect" p14:presetBounceEnd="52000">
                                      <p:stCondLst>
                                        <p:cond delay="1000"/>
                                      </p:stCondLst>
                                      <p:childTnLst>
                                        <p:animRot by="21600000" p14:bounceEnd="52000">
                                          <p:cBhvr>
                                            <p:cTn id="67" dur="9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8" presetID="8" presetClass="emph" presetSubtype="0" accel="28000" fill="hold" nodeType="withEffect" p14:presetBounceEnd="52000">
                                      <p:stCondLst>
                                        <p:cond delay="900"/>
                                      </p:stCondLst>
                                      <p:childTnLst>
                                        <p:animRot by="21600000" p14:bounceEnd="52000">
                                          <p:cBhvr>
                                            <p:cTn id="69" dur="8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0" presetID="18" presetClass="entr" presetSubtype="9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2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5" dur="7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18" presetClass="entr" presetSubtype="9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8" dur="7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8" presetClass="entr" presetSubtype="9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81" dur="7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8" presetClass="entr" presetSubtype="9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84" dur="7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7" dur="12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0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1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-1.45833E-6 -3.33333E-6 L 0.12383 -3.33333E-6 " pathEditMode="relative" rAng="0" ptsTypes="AA">
                                          <p:cBhvr>
                                            <p:cTn id="92" dur="1000" spd="-100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3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63" presetClass="path" presetSubtype="0" accel="50000" decel="50000" fill="hold" grpId="1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animMotion origin="layout" path="M -1.04167E-6 -2.59259E-6 L 0.12383 -2.59259E-6 " pathEditMode="relative" rAng="0" ptsTypes="AA">
                                          <p:cBhvr>
                                            <p:cTn id="97" dur="1000" spd="-100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8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0" dur="12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4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1.66667E-6 -4.44444E-6 L 0.12383 -4.44444E-6 " pathEditMode="relative" rAng="0" ptsTypes="AA">
                                          <p:cBhvr>
                                            <p:cTn id="105" dur="1000" spd="-100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6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8" dur="125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9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3.95833E-6 -4.81481E-6 L 0.12382 -4.81481E-6 " pathEditMode="relative" rAng="0" ptsTypes="AA">
                                          <p:cBhvr>
                                            <p:cTn id="113" dur="1000" spd="-1000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4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7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-2.5E-6 -4.81481E-6 L 0.12383 -4.81481E-6 " pathEditMode="relative" rAng="0" ptsTypes="AA">
                                          <p:cBhvr>
                                            <p:cTn id="118" dur="1000" spd="-100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9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1" dur="750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2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4" dur="75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5" presetID="2" presetClass="entr" presetSubtype="1" accel="49333" decel="50667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7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8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0" grpId="0" animBg="1"/>
          <p:bldP spid="10" grpId="1" animBg="1"/>
          <p:bldP spid="24" grpId="0" animBg="1"/>
          <p:bldP spid="28" grpId="0" animBg="1"/>
          <p:bldP spid="33" grpId="0" animBg="1"/>
          <p:bldP spid="38" grpId="0" animBg="1"/>
          <p:bldP spid="42" grpId="0" animBg="1"/>
          <p:bldP spid="46" grpId="0"/>
          <p:bldP spid="47" grpId="0"/>
          <p:bldP spid="47" grpId="1"/>
          <p:bldP spid="48" grpId="0"/>
          <p:bldP spid="48" grpId="1"/>
          <p:bldP spid="51" grpId="0"/>
          <p:bldP spid="52" grpId="0"/>
          <p:bldP spid="52" grpId="1"/>
          <p:bldP spid="53" grpId="0"/>
          <p:bldP spid="54" grpId="0"/>
          <p:bldP spid="54" grpId="1"/>
          <p:bldP spid="55" grpId="0"/>
          <p:bldP spid="55" grpId="1"/>
          <p:bldP spid="56" grpId="0" animBg="1"/>
          <p:bldP spid="57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8" presetClass="entr" presetSubtype="3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Right)">
                                          <p:cBhvr>
                                            <p:cTn id="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75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10" presetClass="entr" presetSubtype="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75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45000" decel="55000" fill="hold" grpId="1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2" accel="45000" decel="55000" fill="hold" grpId="1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2" presetClass="exit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Effect transition="out" filter="wipe(down)">
                                          <p:cBhvr>
                                            <p:cTn id="23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2" presetClass="entr" presetSubtype="8" accel="40000" decel="52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2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3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4" presetID="2" presetClass="entr" presetSubtype="8" accel="40000" decel="5200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6" dur="9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7" dur="9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8" presetID="2" presetClass="entr" presetSubtype="8" accel="40000" decel="5200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0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1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2" presetID="2" presetClass="entr" presetSubtype="8" accel="40000" decel="52000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4" dur="7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5" dur="7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6" presetID="2" presetClass="entr" presetSubtype="8" accel="40000" decel="52000" fill="hold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8" dur="6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9" dur="6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0" presetID="8" presetClass="emph" presetSubtype="0" accel="28000" fill="hold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61" dur="12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2" presetID="8" presetClass="emph" presetSubtype="0" accel="28000" fill="hold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63" dur="11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4" presetID="8" presetClass="emph" presetSubtype="0" accel="2800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65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6" presetID="8" presetClass="emph" presetSubtype="0" accel="28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67" dur="9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68" presetID="8" presetClass="emph" presetSubtype="0" accel="28000" fill="hold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69" dur="8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0" presetID="18" presetClass="entr" presetSubtype="9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2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5" dur="75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18" presetClass="entr" presetSubtype="9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78" dur="7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8" presetClass="entr" presetSubtype="9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81" dur="7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8" presetClass="entr" presetSubtype="9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84" dur="75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5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7" dur="12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0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1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-1.45833E-6 -3.33333E-6 L 0.12383 -3.33333E-6 " pathEditMode="relative" rAng="0" ptsTypes="AA">
                                          <p:cBhvr>
                                            <p:cTn id="92" dur="1000" spd="-100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3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63" presetClass="path" presetSubtype="0" accel="50000" decel="50000" fill="hold" grpId="1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animMotion origin="layout" path="M -1.04167E-6 -2.59259E-6 L 0.12383 -2.59259E-6 " pathEditMode="relative" rAng="0" ptsTypes="AA">
                                          <p:cBhvr>
                                            <p:cTn id="97" dur="1000" spd="-1000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8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0" dur="12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3" dur="5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4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1.66667E-6 -4.44444E-6 L 0.12383 -4.44444E-6 " pathEditMode="relative" rAng="0" ptsTypes="AA">
                                          <p:cBhvr>
                                            <p:cTn id="105" dur="1000" spd="-100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6" presetID="2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8" dur="1250"/>
                                            <p:tgtEl>
                                              <p:spTgt spid="5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9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1" dur="500"/>
                                            <p:tgtEl>
                                              <p:spTgt spid="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3.95833E-6 -4.81481E-6 L 0.12382 -4.81481E-6 " pathEditMode="relative" rAng="0" ptsTypes="AA">
                                          <p:cBhvr>
                                            <p:cTn id="113" dur="1000" spd="-1000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4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6" dur="5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7" presetID="63" presetClass="path" presetSubtype="0" accel="50000" decel="50000" fill="hold" grpId="1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Motion origin="layout" path="M -2.5E-6 -4.81481E-6 L 0.12383 -4.81481E-6 " pathEditMode="relative" rAng="0" ptsTypes="AA">
                                          <p:cBhvr>
                                            <p:cTn id="118" dur="1000" spd="-100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185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9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1" dur="750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2" presetID="18" presetClass="entr" presetSubtype="9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strips(upLeft)">
                                          <p:cBhvr>
                                            <p:cTn id="124" dur="75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5" presetID="2" presetClass="entr" presetSubtype="1" accel="49333" decel="50667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7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8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10" grpId="0" animBg="1"/>
          <p:bldP spid="10" grpId="1" animBg="1"/>
          <p:bldP spid="24" grpId="0" animBg="1"/>
          <p:bldP spid="28" grpId="0" animBg="1"/>
          <p:bldP spid="33" grpId="0" animBg="1"/>
          <p:bldP spid="38" grpId="0" animBg="1"/>
          <p:bldP spid="42" grpId="0" animBg="1"/>
          <p:bldP spid="46" grpId="0"/>
          <p:bldP spid="47" grpId="0"/>
          <p:bldP spid="47" grpId="1"/>
          <p:bldP spid="48" grpId="0"/>
          <p:bldP spid="48" grpId="1"/>
          <p:bldP spid="51" grpId="0"/>
          <p:bldP spid="52" grpId="0"/>
          <p:bldP spid="52" grpId="1"/>
          <p:bldP spid="53" grpId="0"/>
          <p:bldP spid="54" grpId="0"/>
          <p:bldP spid="54" grpId="1"/>
          <p:bldP spid="55" grpId="0"/>
          <p:bldP spid="55" grpId="1"/>
          <p:bldP spid="56" grpId="0" animBg="1"/>
          <p:bldP spid="57" grpId="0" animBg="1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B9AFAC28-7AB0-439D-B9F3-E8A5C2AB37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8416636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E0CE46CA-2266-4BBC-B207-72E3BE386B8D}"/>
              </a:ext>
            </a:extLst>
          </p:cNvPr>
          <p:cNvSpPr/>
          <p:nvPr/>
        </p:nvSpPr>
        <p:spPr>
          <a:xfrm>
            <a:off x="354334" y="3095730"/>
            <a:ext cx="5770258" cy="5770256"/>
          </a:xfrm>
          <a:prstGeom prst="ellipse">
            <a:avLst/>
          </a:prstGeom>
          <a:solidFill>
            <a:srgbClr val="1FA138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51800D2-E552-4E64-9F99-D1061134DDD8}"/>
              </a:ext>
            </a:extLst>
          </p:cNvPr>
          <p:cNvSpPr txBox="1"/>
          <p:nvPr/>
        </p:nvSpPr>
        <p:spPr>
          <a:xfrm>
            <a:off x="921637" y="5701193"/>
            <a:ext cx="490198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pt-BR" sz="1400" dirty="0">
                <a:solidFill>
                  <a:schemeClr val="bg1"/>
                </a:solidFill>
                <a:latin typeface="Suzano Sans" panose="02010503030508060203" pitchFamily="2" charset="0"/>
              </a:rPr>
              <a:t>A gente sabe que cada um tem características únicas. Nossa diversidade está nos nossos sotaques, origens, cores e ideias. A Suzano tem diversidade e inclusão como premissas para ser uma empresa melhor a cada dia.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7" name="Arco 6">
            <a:extLst>
              <a:ext uri="{FF2B5EF4-FFF2-40B4-BE49-F238E27FC236}">
                <a16:creationId xmlns:a16="http://schemas.microsoft.com/office/drawing/2014/main" id="{7C01B9CA-CF8C-4201-9E9A-E522C5D75F27}"/>
              </a:ext>
            </a:extLst>
          </p:cNvPr>
          <p:cNvSpPr/>
          <p:nvPr/>
        </p:nvSpPr>
        <p:spPr>
          <a:xfrm>
            <a:off x="169278" y="2910672"/>
            <a:ext cx="6140377" cy="6140372"/>
          </a:xfrm>
          <a:prstGeom prst="arc">
            <a:avLst>
              <a:gd name="adj1" fmla="val 20298822"/>
              <a:gd name="adj2" fmla="val 18971800"/>
            </a:avLst>
          </a:prstGeom>
          <a:ln w="19050" cap="rnd">
            <a:solidFill>
              <a:srgbClr val="A3DF3E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AFA1FA5-E5C6-4D29-8E88-9444EC7C13A4}"/>
              </a:ext>
            </a:extLst>
          </p:cNvPr>
          <p:cNvSpPr txBox="1"/>
          <p:nvPr/>
        </p:nvSpPr>
        <p:spPr>
          <a:xfrm>
            <a:off x="2356884" y="3720955"/>
            <a:ext cx="4161351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pt-BR" sz="13800" i="0" u="none" strike="noStrike" kern="1200" cap="none" spc="0" normalizeH="0" baseline="0" noProof="0" dirty="0">
                <a:ln>
                  <a:noFill/>
                </a:ln>
                <a:solidFill>
                  <a:srgbClr val="A3DF3E"/>
                </a:solidFill>
                <a:effectLst/>
                <a:uLnTx/>
                <a:uFillTx/>
                <a:latin typeface="Zooja Pro" panose="03060300040001000000" pitchFamily="66" charset="0"/>
              </a:rPr>
              <a:t>15</a:t>
            </a:r>
            <a:r>
              <a:rPr kumimoji="0" lang="pt-BR" sz="6000" i="0" u="none" strike="noStrike" kern="1200" cap="none" spc="0" normalizeH="0" noProof="0" dirty="0">
                <a:ln>
                  <a:noFill/>
                </a:ln>
                <a:solidFill>
                  <a:srgbClr val="A3DF3E"/>
                </a:solidFill>
                <a:effectLst/>
                <a:uLnTx/>
                <a:uFillTx/>
                <a:latin typeface="Zooja Pro" panose="03060300040001000000" pitchFamily="66" charset="0"/>
              </a:rPr>
              <a:t> </a:t>
            </a:r>
            <a:r>
              <a:rPr kumimoji="0" lang="pt-BR" sz="13800" i="0" u="none" strike="noStrike" kern="1200" cap="none" spc="0" normalizeH="0" baseline="0" noProof="0" dirty="0">
                <a:ln>
                  <a:noFill/>
                </a:ln>
                <a:solidFill>
                  <a:srgbClr val="A3DF3E"/>
                </a:solidFill>
                <a:effectLst/>
                <a:uLnTx/>
                <a:uFillTx/>
                <a:latin typeface="Zooja Pro" panose="03060300040001000000" pitchFamily="66" charset="0"/>
              </a:rPr>
              <a:t>mil</a:t>
            </a:r>
            <a:endParaRPr lang="pt-BR" sz="13800" dirty="0">
              <a:solidFill>
                <a:srgbClr val="A3DF3E"/>
              </a:solidFill>
              <a:latin typeface="Zooja Pro" panose="03060300040001000000" pitchFamily="66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3DA8296-96A4-4955-9EC7-5DD81AD61DC5}"/>
              </a:ext>
            </a:extLst>
          </p:cNvPr>
          <p:cNvSpPr txBox="1"/>
          <p:nvPr/>
        </p:nvSpPr>
        <p:spPr>
          <a:xfrm>
            <a:off x="1676381" y="3648913"/>
            <a:ext cx="26083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000" b="1" err="1">
                <a:solidFill>
                  <a:schemeClr val="bg1"/>
                </a:solidFill>
                <a:latin typeface="Suzano Sans" panose="02010503030508060203" pitchFamily="2" charset="0"/>
              </a:rPr>
              <a:t>Somos</a:t>
            </a:r>
            <a:r>
              <a:rPr lang="en-US" sz="2000" b="1">
                <a:solidFill>
                  <a:schemeClr val="bg1"/>
                </a:solidFill>
                <a:latin typeface="Suzano Sans" panose="02010503030508060203" pitchFamily="2" charset="0"/>
              </a:rPr>
              <a:t> a soma de</a:t>
            </a:r>
            <a:endParaRPr lang="pt-BR" sz="2000" b="1">
              <a:solidFill>
                <a:schemeClr val="bg1"/>
              </a:solidFill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2D7A464-7111-44B0-89BA-1F6F07C0A616}"/>
              </a:ext>
            </a:extLst>
          </p:cNvPr>
          <p:cNvSpPr txBox="1"/>
          <p:nvPr/>
        </p:nvSpPr>
        <p:spPr>
          <a:xfrm>
            <a:off x="3403933" y="4982839"/>
            <a:ext cx="26083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b="1" dirty="0" err="1">
                <a:solidFill>
                  <a:schemeClr val="bg1"/>
                </a:solidFill>
                <a:latin typeface="Suzano Sans" panose="02010503030508060203" pitchFamily="2" charset="0"/>
              </a:rPr>
              <a:t>colaboradores</a:t>
            </a:r>
            <a:r>
              <a:rPr lang="en-US" b="1" dirty="0">
                <a:solidFill>
                  <a:schemeClr val="bg1"/>
                </a:solidFill>
                <a:latin typeface="Suzano Sans" panose="02010503030508060203" pitchFamily="2" charset="0"/>
              </a:rPr>
              <a:t> (as) </a:t>
            </a:r>
            <a:r>
              <a:rPr lang="en-US" b="1" dirty="0" err="1">
                <a:solidFill>
                  <a:schemeClr val="bg1"/>
                </a:solidFill>
                <a:latin typeface="Suzano Sans" panose="02010503030508060203" pitchFamily="2" charset="0"/>
              </a:rPr>
              <a:t>próprios</a:t>
            </a:r>
            <a:r>
              <a:rPr lang="en-US" b="1" dirty="0">
                <a:solidFill>
                  <a:schemeClr val="bg1"/>
                </a:solidFill>
                <a:latin typeface="Suzano Sans" panose="02010503030508060203" pitchFamily="2" charset="0"/>
              </a:rPr>
              <a:t> (as)</a:t>
            </a:r>
            <a:endParaRPr lang="pt-BR" b="1" dirty="0">
              <a:solidFill>
                <a:schemeClr val="bg1"/>
              </a:solidFill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91A9BE67-EA41-48C7-B922-B59D0421AE9E}"/>
              </a:ext>
            </a:extLst>
          </p:cNvPr>
          <p:cNvGrpSpPr/>
          <p:nvPr/>
        </p:nvGrpSpPr>
        <p:grpSpPr>
          <a:xfrm>
            <a:off x="5870256" y="4974498"/>
            <a:ext cx="1761446" cy="1761444"/>
            <a:chOff x="6236107" y="4974498"/>
            <a:chExt cx="1761446" cy="1761444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30036E84-5C19-4A49-9032-21167DD12EAE}"/>
                </a:ext>
              </a:extLst>
            </p:cNvPr>
            <p:cNvSpPr/>
            <p:nvPr/>
          </p:nvSpPr>
          <p:spPr>
            <a:xfrm>
              <a:off x="6236107" y="4974498"/>
              <a:ext cx="1761446" cy="1761444"/>
            </a:xfrm>
            <a:prstGeom prst="ellipse">
              <a:avLst/>
            </a:prstGeom>
            <a:solidFill>
              <a:srgbClr val="A3DF3E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2000"/>
                </a:lnSpc>
              </a:pPr>
              <a:endParaRPr lang="pt-BR"/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61ABFF75-8ACA-49E5-8EE1-61483B512C70}"/>
                </a:ext>
              </a:extLst>
            </p:cNvPr>
            <p:cNvSpPr/>
            <p:nvPr/>
          </p:nvSpPr>
          <p:spPr>
            <a:xfrm>
              <a:off x="6324829" y="5271651"/>
              <a:ext cx="1584000" cy="1118255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>
                  <a:ln>
                    <a:noFill/>
                  </a:ln>
                  <a:solidFill>
                    <a:srgbClr val="135158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QUEM SOMOS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Gente que inspira e transforma</a:t>
              </a: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E6F7C66A-F161-45C8-8B43-5B03F5630BC3}"/>
              </a:ext>
            </a:extLst>
          </p:cNvPr>
          <p:cNvGrpSpPr/>
          <p:nvPr/>
        </p:nvGrpSpPr>
        <p:grpSpPr>
          <a:xfrm>
            <a:off x="7737949" y="4974498"/>
            <a:ext cx="1761446" cy="1761444"/>
            <a:chOff x="8210050" y="4974498"/>
            <a:chExt cx="1761446" cy="1761444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EA55D15F-BE6D-4372-BD9D-1B4A641182CE}"/>
                </a:ext>
              </a:extLst>
            </p:cNvPr>
            <p:cNvSpPr/>
            <p:nvPr/>
          </p:nvSpPr>
          <p:spPr>
            <a:xfrm>
              <a:off x="8210050" y="4974498"/>
              <a:ext cx="1761446" cy="1761444"/>
            </a:xfrm>
            <a:prstGeom prst="ellipse">
              <a:avLst/>
            </a:prstGeom>
            <a:solidFill>
              <a:srgbClr val="A3DF3E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2000"/>
                </a:lnSpc>
              </a:pPr>
              <a:endParaRPr lang="pt-BR"/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7A011C0C-346B-4C05-A6AF-72094672803D}"/>
                </a:ext>
              </a:extLst>
            </p:cNvPr>
            <p:cNvSpPr/>
            <p:nvPr/>
          </p:nvSpPr>
          <p:spPr>
            <a:xfrm>
              <a:off x="8298772" y="5271651"/>
              <a:ext cx="1584000" cy="1118255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>
                  <a:ln>
                    <a:noFill/>
                  </a:ln>
                  <a:solidFill>
                    <a:srgbClr val="135158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O QUE FAZEMOS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Gerar e compartilhar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valor</a:t>
              </a: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5E777DB7-4A99-4FFA-AD3D-153C6A7CDEED}"/>
              </a:ext>
            </a:extLst>
          </p:cNvPr>
          <p:cNvGrpSpPr/>
          <p:nvPr/>
        </p:nvGrpSpPr>
        <p:grpSpPr>
          <a:xfrm>
            <a:off x="9605643" y="4974498"/>
            <a:ext cx="1761446" cy="1761444"/>
            <a:chOff x="10053365" y="4974498"/>
            <a:chExt cx="1761446" cy="1761444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EFFACB40-C3EC-427E-985E-6A8CFFAD396D}"/>
                </a:ext>
              </a:extLst>
            </p:cNvPr>
            <p:cNvSpPr/>
            <p:nvPr/>
          </p:nvSpPr>
          <p:spPr>
            <a:xfrm>
              <a:off x="10053365" y="4974498"/>
              <a:ext cx="1761446" cy="1761444"/>
            </a:xfrm>
            <a:prstGeom prst="ellipse">
              <a:avLst/>
            </a:prstGeom>
            <a:solidFill>
              <a:srgbClr val="A3DF3E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2000"/>
                </a:lnSpc>
              </a:pPr>
              <a:endParaRPr lang="pt-BR"/>
            </a:p>
          </p:txBody>
        </p:sp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46B6BF2F-133D-458F-A309-8C980D93B28E}"/>
                </a:ext>
              </a:extLst>
            </p:cNvPr>
            <p:cNvSpPr/>
            <p:nvPr/>
          </p:nvSpPr>
          <p:spPr>
            <a:xfrm>
              <a:off x="10142087" y="5271651"/>
              <a:ext cx="1584000" cy="1118255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1200" cap="none" spc="0" normalizeH="0" baseline="0" noProof="0">
                  <a:ln>
                    <a:noFill/>
                  </a:ln>
                  <a:solidFill>
                    <a:srgbClr val="135158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COMO FAZEMOS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uzano Sans" panose="02010503030508060203" pitchFamily="2" charset="0"/>
                </a:rPr>
                <a:t>Só é bom para nós se for bom para o mundo</a:t>
              </a:r>
            </a:p>
          </p:txBody>
        </p:sp>
      </p:grp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329A706-FE44-4BBA-8C2A-A6BB872D56F8}"/>
              </a:ext>
            </a:extLst>
          </p:cNvPr>
          <p:cNvSpPr txBox="1"/>
          <p:nvPr/>
        </p:nvSpPr>
        <p:spPr>
          <a:xfrm>
            <a:off x="6886235" y="3636768"/>
            <a:ext cx="439213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1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DIRECIONADORES</a:t>
            </a:r>
          </a:p>
          <a:p>
            <a:pPr marL="0" marR="0" lvl="0" indent="0" algn="r" defTabSz="914400" rtl="0" eaLnBrk="1" fontAlgn="auto" latinLnBrk="0" hangingPunct="1">
              <a:lnSpc>
                <a:spcPts val="21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DE CULTURA</a:t>
            </a: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uzano Sans" panose="02010503030508060203" pitchFamily="2" charset="0"/>
              </a:rPr>
              <a:t> </a:t>
            </a:r>
          </a:p>
          <a:p>
            <a:pPr marL="0" marR="0" lvl="0" indent="0" algn="r" defTabSz="914400" rtl="0" eaLnBrk="1" fontAlgn="auto" latinLnBrk="0" hangingPunct="1">
              <a:lnSpc>
                <a:spcPts val="21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uzano Sans" panose="02010503030508060203" pitchFamily="2" charset="0"/>
              </a:rPr>
              <a:t>traduzem o nosso</a:t>
            </a:r>
          </a:p>
          <a:p>
            <a:pPr marL="0" marR="0" lvl="0" indent="0" algn="r" defTabSz="914400" rtl="0" eaLnBrk="1" fontAlgn="auto" latinLnBrk="0" hangingPunct="1">
              <a:lnSpc>
                <a:spcPts val="21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uzano Sans" panose="02010503030508060203" pitchFamily="2" charset="0"/>
              </a:rPr>
              <a:t>jeito de ser:</a:t>
            </a:r>
            <a:endParaRPr kumimoji="0" lang="pt-BR" sz="2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uzano Sans" panose="02010503030508060203" pitchFamily="2" charset="0"/>
              <a:cs typeface="Arial" panose="020B0604020202020204" pitchFamily="34" charset="0"/>
            </a:endParaRPr>
          </a:p>
        </p:txBody>
      </p: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E11051E1-0EAB-496B-9A78-A25A42C242B6}"/>
              </a:ext>
            </a:extLst>
          </p:cNvPr>
          <p:cNvGrpSpPr/>
          <p:nvPr/>
        </p:nvGrpSpPr>
        <p:grpSpPr>
          <a:xfrm>
            <a:off x="7071297" y="3922933"/>
            <a:ext cx="4955089" cy="4955085"/>
            <a:chOff x="7437148" y="3922933"/>
            <a:chExt cx="4955089" cy="4955085"/>
          </a:xfrm>
        </p:grpSpPr>
        <p:sp>
          <p:nvSpPr>
            <p:cNvPr id="26" name="Arco 25">
              <a:extLst>
                <a:ext uri="{FF2B5EF4-FFF2-40B4-BE49-F238E27FC236}">
                  <a16:creationId xmlns:a16="http://schemas.microsoft.com/office/drawing/2014/main" id="{539E41AF-BEC5-465C-A64E-B491250B0CB0}"/>
                </a:ext>
              </a:extLst>
            </p:cNvPr>
            <p:cNvSpPr/>
            <p:nvPr/>
          </p:nvSpPr>
          <p:spPr>
            <a:xfrm>
              <a:off x="7437148" y="3922933"/>
              <a:ext cx="4955089" cy="4955085"/>
            </a:xfrm>
            <a:prstGeom prst="arc">
              <a:avLst>
                <a:gd name="adj1" fmla="val 12709823"/>
                <a:gd name="adj2" fmla="val 15307815"/>
              </a:avLst>
            </a:prstGeom>
            <a:ln w="19050" cap="rnd">
              <a:solidFill>
                <a:srgbClr val="135158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Arco 26">
              <a:extLst>
                <a:ext uri="{FF2B5EF4-FFF2-40B4-BE49-F238E27FC236}">
                  <a16:creationId xmlns:a16="http://schemas.microsoft.com/office/drawing/2014/main" id="{3D9D1B12-2B90-4A1E-BCA2-157FC3331EFD}"/>
                </a:ext>
              </a:extLst>
            </p:cNvPr>
            <p:cNvSpPr/>
            <p:nvPr/>
          </p:nvSpPr>
          <p:spPr>
            <a:xfrm>
              <a:off x="7437148" y="3922933"/>
              <a:ext cx="4955089" cy="4955085"/>
            </a:xfrm>
            <a:prstGeom prst="arc">
              <a:avLst>
                <a:gd name="adj1" fmla="val 18933474"/>
                <a:gd name="adj2" fmla="val 10216322"/>
              </a:avLst>
            </a:prstGeom>
            <a:ln w="19050" cap="rnd">
              <a:solidFill>
                <a:srgbClr val="135158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1" name="Gráfico 30">
            <a:extLst>
              <a:ext uri="{FF2B5EF4-FFF2-40B4-BE49-F238E27FC236}">
                <a16:creationId xmlns:a16="http://schemas.microsoft.com/office/drawing/2014/main" id="{26363958-74AC-4D5F-A58D-7A9D5D66779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b="17644"/>
          <a:stretch/>
        </p:blipFill>
        <p:spPr>
          <a:xfrm>
            <a:off x="10097060" y="567516"/>
            <a:ext cx="1491454" cy="384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6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18565 L 0 2.59259E-6 " pathEditMode="relative" rAng="0" ptsTypes="AA">
                                      <p:cBhvr>
                                        <p:cTn id="9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82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accel="37000" decel="54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18" presetClass="entr" presetSubtype="3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8" accel="37000" decel="54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8" accel="37000" decel="54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accel="42667" decel="44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2" accel="42667" decel="44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accel="42667" decel="4400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2" accel="42667" decel="44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18" presetClass="entr" presetSubtype="9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5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" presetClass="entr" presetSubtype="1" accel="49333" decel="5066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6" grpId="0"/>
      <p:bldP spid="7" grpId="0" animBg="1"/>
      <p:bldP spid="8" grpId="0"/>
      <p:bldP spid="11" grpId="0"/>
      <p:bldP spid="12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FEE1059-0AFA-4636-8164-477A77149D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9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4359060-FAA5-7649-9E3D-3565DDF049A5}"/>
              </a:ext>
            </a:extLst>
          </p:cNvPr>
          <p:cNvSpPr txBox="1">
            <a:spLocks/>
          </p:cNvSpPr>
          <p:nvPr/>
        </p:nvSpPr>
        <p:spPr>
          <a:xfrm>
            <a:off x="6680139" y="2477199"/>
            <a:ext cx="5038846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7020"/>
              </a:lnSpc>
              <a:buNone/>
            </a:pPr>
            <a:endParaRPr lang="pt-BR" sz="7200" b="1">
              <a:solidFill>
                <a:schemeClr val="tx1"/>
              </a:solidFill>
              <a:latin typeface="Abad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A566E1-23B2-E448-BEAF-E5B7E32523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FC20E261-A244-514D-BAC0-5B5E60F0798F}"/>
              </a:ext>
            </a:extLst>
          </p:cNvPr>
          <p:cNvSpPr txBox="1">
            <a:spLocks/>
          </p:cNvSpPr>
          <p:nvPr/>
        </p:nvSpPr>
        <p:spPr>
          <a:xfrm>
            <a:off x="4972050" y="3395454"/>
            <a:ext cx="6746935" cy="1370657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t-BR" sz="4000" dirty="0">
                <a:solidFill>
                  <a:schemeClr val="tx1"/>
                </a:solidFill>
                <a:latin typeface="Suzano Sans Thin" panose="02010403030508060203" pitchFamily="2" charset="77"/>
              </a:rPr>
              <a:t>TREINAMENTO DE </a:t>
            </a:r>
            <a:r>
              <a:rPr lang="pt-BR" sz="4000" dirty="0">
                <a:solidFill>
                  <a:srgbClr val="E5DC1F"/>
                </a:solidFill>
                <a:highlight>
                  <a:srgbClr val="000000"/>
                </a:highlight>
                <a:latin typeface="Suzano Sans Thin" panose="02010403030508060203" pitchFamily="2" charset="77"/>
              </a:rPr>
              <a:t>OTIMIZAÇÃO</a:t>
            </a:r>
            <a:endParaRPr lang="en-US" sz="4000" dirty="0">
              <a:solidFill>
                <a:srgbClr val="E5DC1F"/>
              </a:solidFill>
              <a:highlight>
                <a:srgbClr val="000000"/>
              </a:highlight>
              <a:latin typeface="Suzano Sans Thin" panose="02010403030508060203" pitchFamily="2" charset="77"/>
            </a:endParaRPr>
          </a:p>
        </p:txBody>
      </p:sp>
      <p:sp>
        <p:nvSpPr>
          <p:cNvPr id="9" name="Espaço Reservado para Texto 3">
            <a:extLst>
              <a:ext uri="{FF2B5EF4-FFF2-40B4-BE49-F238E27FC236}">
                <a16:creationId xmlns:a16="http://schemas.microsoft.com/office/drawing/2014/main" id="{738BE7CA-8C2A-B140-A273-C7FD52745311}"/>
              </a:ext>
            </a:extLst>
          </p:cNvPr>
          <p:cNvSpPr txBox="1">
            <a:spLocks/>
          </p:cNvSpPr>
          <p:nvPr/>
        </p:nvSpPr>
        <p:spPr>
          <a:xfrm>
            <a:off x="6072849" y="1500101"/>
            <a:ext cx="5622985" cy="40227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pt-BR" sz="1400" dirty="0">
                <a:solidFill>
                  <a:schemeClr val="tx1"/>
                </a:solidFill>
                <a:latin typeface="Suzano Sans Thin" panose="02010403030508060203" pitchFamily="2" charset="77"/>
              </a:rPr>
              <a:t>OUTUBRO 2021</a:t>
            </a:r>
            <a:endParaRPr lang="en-US" sz="1400" dirty="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sp>
        <p:nvSpPr>
          <p:cNvPr id="11" name="Espaço Reservado para Texto 3">
            <a:extLst>
              <a:ext uri="{FF2B5EF4-FFF2-40B4-BE49-F238E27FC236}">
                <a16:creationId xmlns:a16="http://schemas.microsoft.com/office/drawing/2014/main" id="{BFD7A8F4-B10D-EF41-BBB1-DA3F1227E157}"/>
              </a:ext>
            </a:extLst>
          </p:cNvPr>
          <p:cNvSpPr txBox="1">
            <a:spLocks/>
          </p:cNvSpPr>
          <p:nvPr/>
        </p:nvSpPr>
        <p:spPr>
          <a:xfrm>
            <a:off x="5886449" y="1902374"/>
            <a:ext cx="5832536" cy="1657308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ts val="6080"/>
              </a:lnSpc>
              <a:buNone/>
            </a:pPr>
            <a:r>
              <a:rPr lang="pt-BR" sz="6000" b="1">
                <a:solidFill>
                  <a:schemeClr val="tx1"/>
                </a:solidFill>
                <a:latin typeface="Suzano Sans" panose="02010503030508060203" pitchFamily="2" charset="77"/>
              </a:rPr>
              <a:t>ACADEMIA DIGITAL</a:t>
            </a:r>
            <a:endParaRPr lang="en-US" sz="6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4312E95-ACD5-C64E-868E-746FD6B00A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432437"/>
            <a:ext cx="11899900" cy="546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AB6397-1B47-4C46-ACA1-D63D051878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6934" y="5683004"/>
            <a:ext cx="2496272" cy="11701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13ADE5-1586-0144-AD65-9E0853FF54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03268" y="471671"/>
            <a:ext cx="4775200" cy="47371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D1B3CFBA-9E44-FB45-B68B-7AC410F64A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091497" y="927992"/>
            <a:ext cx="604337" cy="604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47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CE69F179-2762-4929-BFB3-5B0A5DC3B6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12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1837D4BB-50FC-A54F-89EE-C7B63732C9E4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Novamente, o problema da mochila....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pic>
        <p:nvPicPr>
          <p:cNvPr id="1026" name="Picture 2" descr="mochila-de-trilha-nh500-20-litros">
            <a:extLst>
              <a:ext uri="{FF2B5EF4-FFF2-40B4-BE49-F238E27FC236}">
                <a16:creationId xmlns:a16="http://schemas.microsoft.com/office/drawing/2014/main" id="{41AA6B71-0131-467C-B435-5BB70330E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014" y="760773"/>
            <a:ext cx="1631076" cy="163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E2A7D08A-DDE7-4110-9168-377E88828337}"/>
              </a:ext>
            </a:extLst>
          </p:cNvPr>
          <p:cNvSpPr txBox="1"/>
          <p:nvPr/>
        </p:nvSpPr>
        <p:spPr>
          <a:xfrm>
            <a:off x="4893144" y="788624"/>
            <a:ext cx="268798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Capacidade Máxima:</a:t>
            </a:r>
          </a:p>
          <a:p>
            <a:r>
              <a:rPr lang="pt-BR"/>
              <a:t>	Volume = 8 litros</a:t>
            </a:r>
          </a:p>
          <a:p>
            <a:r>
              <a:rPr lang="pt-BR"/>
              <a:t>	Peso = 24 kg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79F7912-AAAA-46B7-A658-BBDB19683989}"/>
              </a:ext>
            </a:extLst>
          </p:cNvPr>
          <p:cNvSpPr txBox="1"/>
          <p:nvPr/>
        </p:nvSpPr>
        <p:spPr>
          <a:xfrm>
            <a:off x="2683613" y="272311"/>
            <a:ext cx="1545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A MOCHILA....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A43BB25F-19E3-4ABF-80E5-FBE0DFF3AED5}"/>
              </a:ext>
            </a:extLst>
          </p:cNvPr>
          <p:cNvSpPr txBox="1"/>
          <p:nvPr/>
        </p:nvSpPr>
        <p:spPr>
          <a:xfrm>
            <a:off x="4745517" y="2948336"/>
            <a:ext cx="28605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Caixa de Chocolate:</a:t>
            </a:r>
          </a:p>
          <a:p>
            <a:r>
              <a:rPr lang="pt-BR"/>
              <a:t>	Volume = 2 litros</a:t>
            </a:r>
          </a:p>
          <a:p>
            <a:r>
              <a:rPr lang="pt-BR"/>
              <a:t>	Peso = 3 kg</a:t>
            </a:r>
          </a:p>
          <a:p>
            <a:r>
              <a:rPr lang="pt-BR"/>
              <a:t>	Lucro = 2 R$/caixa 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3080EC73-B8D8-4650-9588-D6F6437D1BFC}"/>
              </a:ext>
            </a:extLst>
          </p:cNvPr>
          <p:cNvSpPr txBox="1"/>
          <p:nvPr/>
        </p:nvSpPr>
        <p:spPr>
          <a:xfrm>
            <a:off x="2548195" y="2595229"/>
            <a:ext cx="1343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OS ITEMS....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8D85285F-31A3-47FF-933F-DEEF0571FB87}"/>
              </a:ext>
            </a:extLst>
          </p:cNvPr>
          <p:cNvSpPr txBox="1"/>
          <p:nvPr/>
        </p:nvSpPr>
        <p:spPr>
          <a:xfrm>
            <a:off x="4745517" y="4369205"/>
            <a:ext cx="31561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Bandeja de Picanha:</a:t>
            </a:r>
          </a:p>
          <a:p>
            <a:r>
              <a:rPr lang="pt-BR"/>
              <a:t>	Volume = 1 litros</a:t>
            </a:r>
          </a:p>
          <a:p>
            <a:r>
              <a:rPr lang="pt-BR"/>
              <a:t>	Peso = 4 kg</a:t>
            </a:r>
          </a:p>
          <a:p>
            <a:r>
              <a:rPr lang="pt-BR"/>
              <a:t>	Lucro = 5 R$/bandeja </a:t>
            </a:r>
          </a:p>
        </p:txBody>
      </p:sp>
      <p:pic>
        <p:nvPicPr>
          <p:cNvPr id="1032" name="Picture 8" descr="Chocolate Lolo Nestlé Caixa C/ 30 Unidades !!! | Mercado Livre">
            <a:extLst>
              <a:ext uri="{FF2B5EF4-FFF2-40B4-BE49-F238E27FC236}">
                <a16:creationId xmlns:a16="http://schemas.microsoft.com/office/drawing/2014/main" id="{CF069F89-B35D-4FA8-9B9F-243567617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864" y="3167941"/>
            <a:ext cx="1128930" cy="73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icanha Bovina Para Grelhar Bandeja em Petit mambo_express São Paulo">
            <a:extLst>
              <a:ext uri="{FF2B5EF4-FFF2-40B4-BE49-F238E27FC236}">
                <a16:creationId xmlns:a16="http://schemas.microsoft.com/office/drawing/2014/main" id="{A3B3AF74-522B-428F-AA64-37FAE5C2D7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0" b="20132"/>
          <a:stretch/>
        </p:blipFill>
        <p:spPr bwMode="auto">
          <a:xfrm>
            <a:off x="3123649" y="4593712"/>
            <a:ext cx="1253760" cy="80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E084437D-F665-4FB2-B005-545848D0B00E}"/>
              </a:ext>
            </a:extLst>
          </p:cNvPr>
          <p:cNvSpPr txBox="1"/>
          <p:nvPr/>
        </p:nvSpPr>
        <p:spPr>
          <a:xfrm>
            <a:off x="8981971" y="2290778"/>
            <a:ext cx="32100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Vou levar</a:t>
            </a:r>
          </a:p>
          <a:p>
            <a:r>
              <a:rPr lang="pt-BR" b="1">
                <a:solidFill>
                  <a:schemeClr val="accent1"/>
                </a:solidFill>
              </a:rPr>
              <a:t>X CAIXAS DE CHOCOLATE </a:t>
            </a:r>
          </a:p>
          <a:p>
            <a:r>
              <a:rPr lang="pt-BR"/>
              <a:t>e</a:t>
            </a:r>
          </a:p>
          <a:p>
            <a:r>
              <a:rPr lang="pt-BR" b="1">
                <a:solidFill>
                  <a:srgbClr val="FF0000"/>
                </a:solidFill>
              </a:rPr>
              <a:t>Y BANDEJAS DE PICANHA</a:t>
            </a:r>
          </a:p>
          <a:p>
            <a:r>
              <a:rPr lang="pt-BR"/>
              <a:t>Para</a:t>
            </a:r>
          </a:p>
          <a:p>
            <a:r>
              <a:rPr lang="pt-BR" b="1"/>
              <a:t>maximizar meu lucro.</a:t>
            </a:r>
          </a:p>
        </p:txBody>
      </p:sp>
      <p:sp>
        <p:nvSpPr>
          <p:cNvPr id="5" name="Chave Direita 4">
            <a:extLst>
              <a:ext uri="{FF2B5EF4-FFF2-40B4-BE49-F238E27FC236}">
                <a16:creationId xmlns:a16="http://schemas.microsoft.com/office/drawing/2014/main" id="{ECD12C29-CA7E-4BBB-B279-4E3BEC46CD73}"/>
              </a:ext>
            </a:extLst>
          </p:cNvPr>
          <p:cNvSpPr/>
          <p:nvPr/>
        </p:nvSpPr>
        <p:spPr>
          <a:xfrm>
            <a:off x="8089767" y="1144620"/>
            <a:ext cx="720762" cy="4378362"/>
          </a:xfrm>
          <a:prstGeom prst="rightBrace">
            <a:avLst>
              <a:gd name="adj1" fmla="val 84452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7946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/>
      <p:bldP spid="31" grpId="0"/>
      <p:bldP spid="4" grpId="0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D72A79C5-BE5B-45EB-BBD2-BC77CF1D2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978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1837D4BB-50FC-A54F-89EE-C7B63732C9E4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2348236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Formulando matematicamente...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0FC65AC7-6E94-4894-A325-6C5084328F6A}"/>
                  </a:ext>
                </a:extLst>
              </p:cNvPr>
              <p:cNvSpPr txBox="1"/>
              <p:nvPr/>
            </p:nvSpPr>
            <p:spPr>
              <a:xfrm>
                <a:off x="5254095" y="1800759"/>
                <a:ext cx="17478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pt-BR" b="0" i="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=2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func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0FC65AC7-6E94-4894-A325-6C5084328F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4095" y="1800759"/>
                <a:ext cx="1747851" cy="276999"/>
              </a:xfrm>
              <a:prstGeom prst="rect">
                <a:avLst/>
              </a:prstGeom>
              <a:blipFill>
                <a:blip r:embed="rId9"/>
                <a:stretch>
                  <a:fillRect l="-1394" t="-2174" r="-3833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9C1CB65B-06C2-46C6-AE81-752F86655A5D}"/>
                  </a:ext>
                </a:extLst>
              </p:cNvPr>
              <p:cNvSpPr txBox="1"/>
              <p:nvPr/>
            </p:nvSpPr>
            <p:spPr>
              <a:xfrm>
                <a:off x="5251512" y="2921199"/>
                <a:ext cx="115070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≤8</m:t>
                      </m:r>
                    </m:oMath>
                  </m:oMathPara>
                </a14:m>
                <a:endParaRPr lang="pt-BR"/>
              </a:p>
            </p:txBody>
          </p:sp>
        </mc:Choice>
        <mc:Fallback xmlns="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9C1CB65B-06C2-46C6-AE81-752F86655A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1512" y="2921199"/>
                <a:ext cx="1150700" cy="276999"/>
              </a:xfrm>
              <a:prstGeom prst="rect">
                <a:avLst/>
              </a:prstGeom>
              <a:blipFill>
                <a:blip r:embed="rId10"/>
                <a:stretch>
                  <a:fillRect l="-4233" r="-4762" b="-239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91C4BBDA-94A1-404B-9D22-B4E78B7EA019}"/>
                  </a:ext>
                </a:extLst>
              </p:cNvPr>
              <p:cNvSpPr txBox="1"/>
              <p:nvPr/>
            </p:nvSpPr>
            <p:spPr>
              <a:xfrm>
                <a:off x="5251512" y="3372016"/>
                <a:ext cx="140718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3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+4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≤24</m:t>
                      </m:r>
                    </m:oMath>
                  </m:oMathPara>
                </a14:m>
                <a:endParaRPr lang="pt-BR" b="0"/>
              </a:p>
            </p:txBody>
          </p:sp>
        </mc:Choice>
        <mc:Fallback xmlns="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91C4BBDA-94A1-404B-9D22-B4E78B7EA0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1512" y="3372016"/>
                <a:ext cx="1407180" cy="276999"/>
              </a:xfrm>
              <a:prstGeom prst="rect">
                <a:avLst/>
              </a:prstGeom>
              <a:blipFill>
                <a:blip r:embed="rId11"/>
                <a:stretch>
                  <a:fillRect l="-3463" r="-3896" b="-326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CaixaDeTexto 17">
                <a:extLst>
                  <a:ext uri="{FF2B5EF4-FFF2-40B4-BE49-F238E27FC236}">
                    <a16:creationId xmlns:a16="http://schemas.microsoft.com/office/drawing/2014/main" id="{96533881-3A78-4BD4-BC8A-AE2CE2830E7D}"/>
                  </a:ext>
                </a:extLst>
              </p:cNvPr>
              <p:cNvSpPr txBox="1"/>
              <p:nvPr/>
            </p:nvSpPr>
            <p:spPr>
              <a:xfrm>
                <a:off x="5191705" y="4605363"/>
                <a:ext cx="61292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&gt;0</m:t>
                      </m:r>
                    </m:oMath>
                  </m:oMathPara>
                </a14:m>
                <a:endParaRPr lang="pt-BR" b="0" dirty="0"/>
              </a:p>
            </p:txBody>
          </p:sp>
        </mc:Choice>
        <mc:Fallback>
          <p:sp>
            <p:nvSpPr>
              <p:cNvPr id="18" name="CaixaDeTexto 17">
                <a:extLst>
                  <a:ext uri="{FF2B5EF4-FFF2-40B4-BE49-F238E27FC236}">
                    <a16:creationId xmlns:a16="http://schemas.microsoft.com/office/drawing/2014/main" id="{96533881-3A78-4BD4-BC8A-AE2CE2830E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1705" y="4605363"/>
                <a:ext cx="612925" cy="276999"/>
              </a:xfrm>
              <a:prstGeom prst="rect">
                <a:avLst/>
              </a:prstGeom>
              <a:blipFill>
                <a:blip r:embed="rId12"/>
                <a:stretch>
                  <a:fillRect l="-5000" r="-9000" b="-652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1" name="CaixaDeTexto 20">
                <a:extLst>
                  <a:ext uri="{FF2B5EF4-FFF2-40B4-BE49-F238E27FC236}">
                    <a16:creationId xmlns:a16="http://schemas.microsoft.com/office/drawing/2014/main" id="{B1ACD94C-F6BF-4738-B32F-178D8DC30168}"/>
                  </a:ext>
                </a:extLst>
              </p:cNvPr>
              <p:cNvSpPr txBox="1"/>
              <p:nvPr/>
            </p:nvSpPr>
            <p:spPr>
              <a:xfrm>
                <a:off x="5200177" y="5107367"/>
                <a:ext cx="6163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&gt;0</m:t>
                      </m:r>
                    </m:oMath>
                  </m:oMathPara>
                </a14:m>
                <a:endParaRPr lang="pt-BR" b="0" dirty="0"/>
              </a:p>
            </p:txBody>
          </p:sp>
        </mc:Choice>
        <mc:Fallback>
          <p:sp>
            <p:nvSpPr>
              <p:cNvPr id="21" name="CaixaDeTexto 20">
                <a:extLst>
                  <a:ext uri="{FF2B5EF4-FFF2-40B4-BE49-F238E27FC236}">
                    <a16:creationId xmlns:a16="http://schemas.microsoft.com/office/drawing/2014/main" id="{B1ACD94C-F6BF-4738-B32F-178D8DC301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0177" y="5107367"/>
                <a:ext cx="616323" cy="276999"/>
              </a:xfrm>
              <a:prstGeom prst="rect">
                <a:avLst/>
              </a:prstGeom>
              <a:blipFill>
                <a:blip r:embed="rId13"/>
                <a:stretch>
                  <a:fillRect l="-8911" r="-8911" b="-26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CaixaDeTexto 22">
            <a:extLst>
              <a:ext uri="{FF2B5EF4-FFF2-40B4-BE49-F238E27FC236}">
                <a16:creationId xmlns:a16="http://schemas.microsoft.com/office/drawing/2014/main" id="{23153FED-AF17-495E-A6E4-F793491FECD9}"/>
              </a:ext>
            </a:extLst>
          </p:cNvPr>
          <p:cNvSpPr txBox="1"/>
          <p:nvPr/>
        </p:nvSpPr>
        <p:spPr>
          <a:xfrm>
            <a:off x="4652624" y="1257978"/>
            <a:ext cx="17743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Função Objetivo: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D62B12A-1C55-4632-AC56-76377A9495B2}"/>
              </a:ext>
            </a:extLst>
          </p:cNvPr>
          <p:cNvSpPr txBox="1"/>
          <p:nvPr/>
        </p:nvSpPr>
        <p:spPr>
          <a:xfrm>
            <a:off x="4652263" y="2373761"/>
            <a:ext cx="120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Restrições: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5EBFA07-3DD8-4F77-AEA6-022701E1A5D0}"/>
              </a:ext>
            </a:extLst>
          </p:cNvPr>
          <p:cNvSpPr txBox="1"/>
          <p:nvPr/>
        </p:nvSpPr>
        <p:spPr>
          <a:xfrm>
            <a:off x="4652263" y="211060"/>
            <a:ext cx="1076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Variávei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B65AE069-DAA1-4D53-8279-F8C338D617ED}"/>
                  </a:ext>
                </a:extLst>
              </p:cNvPr>
              <p:cNvSpPr txBox="1"/>
              <p:nvPr/>
            </p:nvSpPr>
            <p:spPr>
              <a:xfrm>
                <a:off x="5254095" y="759592"/>
                <a:ext cx="3452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pt-BR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pt-BR" b="0"/>
                  <a:t>, y</a:t>
                </a:r>
              </a:p>
            </p:txBody>
          </p:sp>
        </mc:Choice>
        <mc:Fallback xmlns="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B65AE069-DAA1-4D53-8279-F8C338D617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4095" y="759592"/>
                <a:ext cx="345223" cy="276999"/>
              </a:xfrm>
              <a:prstGeom prst="rect">
                <a:avLst/>
              </a:prstGeom>
              <a:blipFill>
                <a:blip r:embed="rId14"/>
                <a:stretch>
                  <a:fillRect l="-17544" t="-28889" r="-38596" b="-5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CaixaDeTexto 32">
            <a:extLst>
              <a:ext uri="{FF2B5EF4-FFF2-40B4-BE49-F238E27FC236}">
                <a16:creationId xmlns:a16="http://schemas.microsoft.com/office/drawing/2014/main" id="{8CF32D03-D2E9-4734-B756-FD572BFF9FC0}"/>
              </a:ext>
            </a:extLst>
          </p:cNvPr>
          <p:cNvSpPr txBox="1"/>
          <p:nvPr/>
        </p:nvSpPr>
        <p:spPr>
          <a:xfrm>
            <a:off x="4652980" y="3942523"/>
            <a:ext cx="3160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/>
              <a:t>Restrições de não negatividade: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FF06856-5AC0-47AA-AC38-5BC9D59E794C}"/>
              </a:ext>
            </a:extLst>
          </p:cNvPr>
          <p:cNvSpPr txBox="1"/>
          <p:nvPr/>
        </p:nvSpPr>
        <p:spPr>
          <a:xfrm>
            <a:off x="8087846" y="1677648"/>
            <a:ext cx="35106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>
                <a:solidFill>
                  <a:srgbClr val="FF0000"/>
                </a:solidFill>
              </a:rPr>
              <a:t>Lucro se eu levar X caixas de chocolate e Y bandejas de picanhas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DCF5324A-71A2-4968-9EFE-788C06BC86E0}"/>
              </a:ext>
            </a:extLst>
          </p:cNvPr>
          <p:cNvSpPr txBox="1"/>
          <p:nvPr/>
        </p:nvSpPr>
        <p:spPr>
          <a:xfrm>
            <a:off x="8087845" y="2940025"/>
            <a:ext cx="35106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>
                <a:solidFill>
                  <a:srgbClr val="FF0000"/>
                </a:solidFill>
              </a:rPr>
              <a:t>Respeitar a capacidade de volume e de peso da mochila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CE2B89D-3C70-454F-81AB-3C4C865A5D82}"/>
              </a:ext>
            </a:extLst>
          </p:cNvPr>
          <p:cNvSpPr txBox="1"/>
          <p:nvPr/>
        </p:nvSpPr>
        <p:spPr>
          <a:xfrm>
            <a:off x="8087844" y="4263432"/>
            <a:ext cx="351063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FF0000"/>
                </a:solidFill>
              </a:rPr>
              <a:t>Não pode comprar -1 caixa!</a:t>
            </a:r>
          </a:p>
          <a:p>
            <a:r>
              <a:rPr lang="pt-BR" sz="1400" dirty="0">
                <a:solidFill>
                  <a:srgbClr val="FF0000"/>
                </a:solidFill>
              </a:rPr>
              <a:t>É ÓBVIO APENAS PARA VOCÊ, O COMPUTADOR NÃO SABE DISSO!!!!!!!!</a:t>
            </a:r>
          </a:p>
          <a:p>
            <a:endParaRPr lang="pt-BR" sz="1400" dirty="0">
              <a:solidFill>
                <a:srgbClr val="FF0000"/>
              </a:solidFill>
            </a:endParaRPr>
          </a:p>
          <a:p>
            <a:r>
              <a:rPr lang="pt-BR" sz="1400" dirty="0">
                <a:solidFill>
                  <a:srgbClr val="FF0000"/>
                </a:solidFill>
              </a:rPr>
              <a:t>Adicionalmente comprar pelo menos 1 item de cada</a:t>
            </a:r>
          </a:p>
        </p:txBody>
      </p:sp>
    </p:spTree>
    <p:extLst>
      <p:ext uri="{BB962C8B-B14F-4D97-AF65-F5344CB8AC3E}">
        <p14:creationId xmlns:p14="http://schemas.microsoft.com/office/powerpoint/2010/main" val="3110841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7766616F-82D6-46B5-807F-AC4657396A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938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1837D4BB-50FC-A54F-89EE-C7B63732C9E4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pic>
        <p:nvPicPr>
          <p:cNvPr id="4" name="Imagem 3" descr="Uma imagem contendo mapa&#10;&#10;Descrição gerada automaticamente">
            <a:extLst>
              <a:ext uri="{FF2B5EF4-FFF2-40B4-BE49-F238E27FC236}">
                <a16:creationId xmlns:a16="http://schemas.microsoft.com/office/drawing/2014/main" id="{34325D09-1540-452C-880A-1F891D5655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8887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56BDA5A-9D5E-4B04-81DF-82AE49DE2C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451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95D3918D-515C-FC47-A872-63C85A2A6B94}"/>
              </a:ext>
            </a:extLst>
          </p:cNvPr>
          <p:cNvSpPr txBox="1">
            <a:spLocks/>
          </p:cNvSpPr>
          <p:nvPr/>
        </p:nvSpPr>
        <p:spPr>
          <a:xfrm>
            <a:off x="334120" y="6340714"/>
            <a:ext cx="5622985" cy="402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900" b="1">
                <a:solidFill>
                  <a:schemeClr val="tx1"/>
                </a:solidFill>
                <a:latin typeface="Suzano Sans" panose="02010503030508060203" pitchFamily="2" charset="77"/>
              </a:rPr>
              <a:t>Transformação Digital Suzano </a:t>
            </a:r>
            <a:r>
              <a:rPr lang="pt-BR" sz="900">
                <a:solidFill>
                  <a:schemeClr val="tx1"/>
                </a:solidFill>
                <a:latin typeface="Suzano Sans Thin" panose="02010403030508060203" pitchFamily="2" charset="77"/>
              </a:rPr>
              <a:t>| Alcance o impensável</a:t>
            </a:r>
            <a:endParaRPr lang="en-US" sz="900">
              <a:solidFill>
                <a:schemeClr val="tx1"/>
              </a:solidFill>
              <a:latin typeface="Suzano Sans Thin" panose="02010403030508060203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4EF1BE-9405-7D4E-9E4B-626CE05674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72" y="211060"/>
            <a:ext cx="1976429" cy="2332186"/>
          </a:xfrm>
          <a:prstGeom prst="rect">
            <a:avLst/>
          </a:prstGeom>
        </p:spPr>
      </p:pic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1837D4BB-50FC-A54F-89EE-C7B63732C9E4}"/>
              </a:ext>
            </a:extLst>
          </p:cNvPr>
          <p:cNvSpPr txBox="1">
            <a:spLocks/>
          </p:cNvSpPr>
          <p:nvPr/>
        </p:nvSpPr>
        <p:spPr>
          <a:xfrm>
            <a:off x="324623" y="324348"/>
            <a:ext cx="1918178" cy="820272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9000" b="0" i="0" kern="1200">
                <a:solidFill>
                  <a:srgbClr val="FFFFFF"/>
                </a:solidFill>
                <a:latin typeface="Suzano Sans Light" panose="020103030305080602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>
                <a:solidFill>
                  <a:schemeClr val="tx1"/>
                </a:solidFill>
                <a:latin typeface="Suzano Sans" panose="02010503030508060203" pitchFamily="2" charset="77"/>
              </a:rPr>
              <a:t>O que essas restrições significam?</a:t>
            </a:r>
            <a:endParaRPr lang="en-US" sz="2000" b="1">
              <a:solidFill>
                <a:schemeClr val="tx1"/>
              </a:solidFill>
              <a:latin typeface="Suzano Sans" panose="02010503030508060203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2C774D5-45EC-554E-89FB-7311D5E14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7843" y="277346"/>
            <a:ext cx="971142" cy="226600"/>
          </a:xfrm>
          <a:prstGeom prst="rect">
            <a:avLst/>
          </a:prstGeom>
        </p:spPr>
      </p:pic>
      <p:pic>
        <p:nvPicPr>
          <p:cNvPr id="2" name="Imagem 1" descr="Uma imagem contendo mapa&#10;&#10;Descrição gerada automaticamente">
            <a:extLst>
              <a:ext uri="{FF2B5EF4-FFF2-40B4-BE49-F238E27FC236}">
                <a16:creationId xmlns:a16="http://schemas.microsoft.com/office/drawing/2014/main" id="{3DFB997E-1F28-41D6-9F8F-15BFEC1535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2802" y="1257908"/>
            <a:ext cx="7020001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250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3.43900000000000005684E+00&quot;&gt;&lt;m_msothmcolidx val=&quot;0&quot;/&gt;&lt;m_rgb r=&quot;CC&quot; g=&quot;C4&quot; b=&quot;22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Yp01uXuQOF_SkKFH1P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55hKMtdI0wzuWaTkPW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9C947AC83F09F42937526FA4C3B2F0B" ma:contentTypeVersion="13" ma:contentTypeDescription="Crie um novo documento." ma:contentTypeScope="" ma:versionID="91e64f50d6b7913cfc8fa27bc2e5b9f6">
  <xsd:schema xmlns:xsd="http://www.w3.org/2001/XMLSchema" xmlns:xs="http://www.w3.org/2001/XMLSchema" xmlns:p="http://schemas.microsoft.com/office/2006/metadata/properties" xmlns:ns2="44d793b3-ee81-4ce8-b8ec-eb022d1da4c8" xmlns:ns3="992b5de9-d7c4-4c11-af05-7c0f6d15d2a0" targetNamespace="http://schemas.microsoft.com/office/2006/metadata/properties" ma:root="true" ma:fieldsID="eaa25e4397ba02f9df7baddbeb5a690e" ns2:_="" ns3:_="">
    <xsd:import namespace="44d793b3-ee81-4ce8-b8ec-eb022d1da4c8"/>
    <xsd:import namespace="992b5de9-d7c4-4c11-af05-7c0f6d15d2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d793b3-ee81-4ce8-b8ec-eb022d1da4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2b5de9-d7c4-4c11-af05-7c0f6d15d2a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E31436-A1E3-4B04-AA2B-3939D9F1F156}">
  <ds:schemaRefs>
    <ds:schemaRef ds:uri="44d793b3-ee81-4ce8-b8ec-eb022d1da4c8"/>
    <ds:schemaRef ds:uri="992b5de9-d7c4-4c11-af05-7c0f6d15d2a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4CE56A4-35E6-4D72-A6FB-F63AA33CFF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765210-F93F-4EC9-AA65-BFCD10630E95}">
  <ds:schemaRefs>
    <ds:schemaRef ds:uri="44d793b3-ee81-4ce8-b8ec-eb022d1da4c8"/>
    <ds:schemaRef ds:uri="992b5de9-d7c4-4c11-af05-7c0f6d15d2a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4</TotalTime>
  <Words>1015</Words>
  <Application>Microsoft Office PowerPoint</Application>
  <PresentationFormat>Widescreen</PresentationFormat>
  <Paragraphs>194</Paragraphs>
  <Slides>18</Slides>
  <Notes>15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31" baseType="lpstr">
      <vt:lpstr>Abadi</vt:lpstr>
      <vt:lpstr>Arial</vt:lpstr>
      <vt:lpstr>Calibri</vt:lpstr>
      <vt:lpstr>Calibri Light</vt:lpstr>
      <vt:lpstr>Cambria Math</vt:lpstr>
      <vt:lpstr>Suzano Sans</vt:lpstr>
      <vt:lpstr>Suzano Sans Light</vt:lpstr>
      <vt:lpstr>Suzano Sans Thin</vt:lpstr>
      <vt:lpstr>Symbol</vt:lpstr>
      <vt:lpstr>Wingdings</vt:lpstr>
      <vt:lpstr>Zooja Pro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Guilger</dc:creator>
  <cp:lastModifiedBy>ROBERTO ANDRADE MANSUR</cp:lastModifiedBy>
  <cp:revision>34</cp:revision>
  <dcterms:created xsi:type="dcterms:W3CDTF">2019-01-22T18:13:12Z</dcterms:created>
  <dcterms:modified xsi:type="dcterms:W3CDTF">2021-11-24T11:4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C947AC83F09F42937526FA4C3B2F0B</vt:lpwstr>
  </property>
</Properties>
</file>